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706" r:id="rId6"/>
    <p:sldMasterId id="2147483726" r:id="rId7"/>
    <p:sldMasterId id="2147483737" r:id="rId8"/>
    <p:sldMasterId id="2147483748" r:id="rId9"/>
    <p:sldMasterId id="2147483760" r:id="rId10"/>
    <p:sldMasterId id="2147483814" r:id="rId11"/>
  </p:sldMasterIdLst>
  <p:notesMasterIdLst>
    <p:notesMasterId r:id="rId66"/>
  </p:notesMasterIdLst>
  <p:sldIdLst>
    <p:sldId id="330" r:id="rId12"/>
    <p:sldId id="292" r:id="rId13"/>
    <p:sldId id="293" r:id="rId14"/>
    <p:sldId id="294" r:id="rId15"/>
    <p:sldId id="298" r:id="rId16"/>
    <p:sldId id="297" r:id="rId17"/>
    <p:sldId id="280" r:id="rId18"/>
    <p:sldId id="308" r:id="rId19"/>
    <p:sldId id="295" r:id="rId20"/>
    <p:sldId id="256" r:id="rId21"/>
    <p:sldId id="257" r:id="rId22"/>
    <p:sldId id="313" r:id="rId23"/>
    <p:sldId id="316" r:id="rId24"/>
    <p:sldId id="317" r:id="rId25"/>
    <p:sldId id="328" r:id="rId26"/>
    <p:sldId id="334" r:id="rId27"/>
    <p:sldId id="318" r:id="rId28"/>
    <p:sldId id="327" r:id="rId29"/>
    <p:sldId id="309" r:id="rId30"/>
    <p:sldId id="319" r:id="rId31"/>
    <p:sldId id="349" r:id="rId32"/>
    <p:sldId id="350" r:id="rId33"/>
    <p:sldId id="332" r:id="rId34"/>
    <p:sldId id="345" r:id="rId35"/>
    <p:sldId id="336" r:id="rId36"/>
    <p:sldId id="337" r:id="rId37"/>
    <p:sldId id="338" r:id="rId38"/>
    <p:sldId id="340" r:id="rId39"/>
    <p:sldId id="341" r:id="rId40"/>
    <p:sldId id="342" r:id="rId41"/>
    <p:sldId id="343" r:id="rId42"/>
    <p:sldId id="346" r:id="rId43"/>
    <p:sldId id="354" r:id="rId44"/>
    <p:sldId id="339" r:id="rId45"/>
    <p:sldId id="353" r:id="rId46"/>
    <p:sldId id="321" r:id="rId47"/>
    <p:sldId id="324" r:id="rId48"/>
    <p:sldId id="320" r:id="rId49"/>
    <p:sldId id="351" r:id="rId50"/>
    <p:sldId id="323" r:id="rId51"/>
    <p:sldId id="325" r:id="rId52"/>
    <p:sldId id="326" r:id="rId53"/>
    <p:sldId id="315" r:id="rId54"/>
    <p:sldId id="312" r:id="rId55"/>
    <p:sldId id="356" r:id="rId56"/>
    <p:sldId id="268" r:id="rId57"/>
    <p:sldId id="289" r:id="rId58"/>
    <p:sldId id="277" r:id="rId59"/>
    <p:sldId id="271" r:id="rId60"/>
    <p:sldId id="310" r:id="rId61"/>
    <p:sldId id="314" r:id="rId62"/>
    <p:sldId id="273" r:id="rId63"/>
    <p:sldId id="352" r:id="rId64"/>
    <p:sldId id="300"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8DDEEDB4-A76B-4075-82D9-1F51AB43B720}">
          <p14:sldIdLst>
            <p14:sldId id="330"/>
            <p14:sldId id="292"/>
            <p14:sldId id="293"/>
            <p14:sldId id="294"/>
            <p14:sldId id="298"/>
            <p14:sldId id="297"/>
            <p14:sldId id="280"/>
            <p14:sldId id="308"/>
            <p14:sldId id="295"/>
            <p14:sldId id="256"/>
            <p14:sldId id="257"/>
            <p14:sldId id="313"/>
          </p14:sldIdLst>
        </p14:section>
        <p14:section name="What is it?" id="{D9D07B79-D6F9-4622-A1D1-34E1FDE06AD4}">
          <p14:sldIdLst>
            <p14:sldId id="316"/>
            <p14:sldId id="317"/>
            <p14:sldId id="328"/>
          </p14:sldIdLst>
        </p14:section>
        <p14:section name="Things" id="{79DC5622-0FB7-4C23-A990-78F094D52AD1}">
          <p14:sldIdLst>
            <p14:sldId id="334"/>
            <p14:sldId id="318"/>
            <p14:sldId id="327"/>
            <p14:sldId id="309"/>
          </p14:sldIdLst>
        </p14:section>
        <p14:section name="Connectivity" id="{EC3974DD-C674-4032-BBDE-436E07F8516A}">
          <p14:sldIdLst>
            <p14:sldId id="319"/>
            <p14:sldId id="349"/>
            <p14:sldId id="350"/>
            <p14:sldId id="332"/>
            <p14:sldId id="345"/>
          </p14:sldIdLst>
        </p14:section>
        <p14:section name="Event Hubs Demo Fallback" id="{E9C9D4F1-7445-45EA-92A2-A58EEDFBCFD6}">
          <p14:sldIdLst>
            <p14:sldId id="336"/>
            <p14:sldId id="337"/>
            <p14:sldId id="338"/>
            <p14:sldId id="340"/>
            <p14:sldId id="341"/>
            <p14:sldId id="342"/>
            <p14:sldId id="343"/>
            <p14:sldId id="346"/>
            <p14:sldId id="354"/>
            <p14:sldId id="339"/>
            <p14:sldId id="353"/>
          </p14:sldIdLst>
        </p14:section>
        <p14:section name="Data" id="{4052CC7F-8F6C-4A67-966B-4A7631C00A2B}">
          <p14:sldIdLst>
            <p14:sldId id="321"/>
            <p14:sldId id="324"/>
          </p14:sldIdLst>
        </p14:section>
        <p14:section name="Analytics" id="{7BF990E0-4D54-4EA4-8E77-A05FB081646C}">
          <p14:sldIdLst>
            <p14:sldId id="320"/>
            <p14:sldId id="351"/>
            <p14:sldId id="323"/>
            <p14:sldId id="325"/>
            <p14:sldId id="326"/>
            <p14:sldId id="315"/>
            <p14:sldId id="312"/>
            <p14:sldId id="356"/>
          </p14:sldIdLst>
        </p14:section>
        <p14:section name="Projects" id="{2131C302-7558-4626-B847-F5BDED316E13}">
          <p14:sldIdLst>
            <p14:sldId id="268"/>
            <p14:sldId id="289"/>
            <p14:sldId id="277"/>
            <p14:sldId id="271"/>
            <p14:sldId id="310"/>
          </p14:sldIdLst>
        </p14:section>
        <p14:section name="Finish" id="{3D68A23F-2F70-42D1-AF45-42F1476AF010}">
          <p14:sldIdLst>
            <p14:sldId id="314"/>
            <p14:sldId id="273"/>
            <p14:sldId id="352"/>
            <p14:sldId id="30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8F8C14"/>
    <a:srgbClr val="CBCCDB"/>
    <a:srgbClr val="3851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791" autoAdjust="0"/>
    <p:restoredTop sz="75967" autoAdjust="0"/>
  </p:normalViewPr>
  <p:slideViewPr>
    <p:cSldViewPr snapToGrid="0">
      <p:cViewPr varScale="1">
        <p:scale>
          <a:sx n="81" d="100"/>
          <a:sy n="81" d="100"/>
        </p:scale>
        <p:origin x="96" y="10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65C985-E843-4D6F-A88C-A621097898D0}" type="datetimeFigureOut">
              <a:rPr lang="en-AU" smtClean="0"/>
              <a:t>27/03/2015</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6ADE6C-1B6B-435D-8521-5097B11251C3}" type="slidenum">
              <a:rPr lang="en-AU" smtClean="0"/>
              <a:t>‹#›</a:t>
            </a:fld>
            <a:endParaRPr lang="en-AU"/>
          </a:p>
        </p:txBody>
      </p:sp>
    </p:spTree>
    <p:extLst>
      <p:ext uri="{BB962C8B-B14F-4D97-AF65-F5344CB8AC3E}">
        <p14:creationId xmlns:p14="http://schemas.microsoft.com/office/powerpoint/2010/main" val="1204492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oT</a:t>
            </a:r>
            <a:r>
              <a:rPr lang="en-US" baseline="0" dirty="0" smtClean="0"/>
              <a:t> = Internet of things</a:t>
            </a:r>
            <a:endParaRPr lang="en-US" dirty="0" smtClean="0"/>
          </a:p>
          <a:p>
            <a:endParaRPr lang="en-US" dirty="0" smtClean="0"/>
          </a:p>
          <a:p>
            <a:r>
              <a:rPr lang="en-US" dirty="0" smtClean="0"/>
              <a:t>How many of</a:t>
            </a:r>
            <a:r>
              <a:rPr lang="en-US" baseline="0" dirty="0" smtClean="0"/>
              <a:t> you are human?</a:t>
            </a:r>
            <a:endParaRPr lang="en-US" dirty="0" smtClean="0"/>
          </a:p>
        </p:txBody>
      </p:sp>
      <p:sp>
        <p:nvSpPr>
          <p:cNvPr id="4" name="Slide Number Placeholder 3"/>
          <p:cNvSpPr>
            <a:spLocks noGrp="1"/>
          </p:cNvSpPr>
          <p:nvPr>
            <p:ph type="sldNum" sz="quarter" idx="10"/>
          </p:nvPr>
        </p:nvSpPr>
        <p:spPr/>
        <p:txBody>
          <a:bodyPr/>
          <a:lstStyle/>
          <a:p>
            <a:fld id="{716ADE6C-1B6B-435D-8521-5097B11251C3}" type="slidenum">
              <a:rPr lang="en-AU" smtClean="0"/>
              <a:t>1</a:t>
            </a:fld>
            <a:endParaRPr lang="en-AU"/>
          </a:p>
        </p:txBody>
      </p:sp>
    </p:spTree>
    <p:extLst>
      <p:ext uri="{BB962C8B-B14F-4D97-AF65-F5344CB8AC3E}">
        <p14:creationId xmlns:p14="http://schemas.microsoft.com/office/powerpoint/2010/main" val="19347301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Cloud”</a:t>
            </a:r>
            <a:r>
              <a:rPr lang="en-US" baseline="0" dirty="0" smtClean="0"/>
              <a:t> is another phrase that has changed over time, and today it means something very important.</a:t>
            </a:r>
          </a:p>
          <a:p>
            <a:endParaRPr lang="en-US" baseline="0" dirty="0" smtClean="0"/>
          </a:p>
          <a:p>
            <a:r>
              <a:rPr lang="en-US" baseline="0" dirty="0" smtClean="0"/>
              <a:t>IoT is starting to mean something. Something important.</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11</a:t>
            </a:fld>
            <a:endParaRPr lang="en-AU"/>
          </a:p>
        </p:txBody>
      </p:sp>
    </p:spTree>
    <p:extLst>
      <p:ext uri="{BB962C8B-B14F-4D97-AF65-F5344CB8AC3E}">
        <p14:creationId xmlns:p14="http://schemas.microsoft.com/office/powerpoint/2010/main" val="2761953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TNG</a:t>
            </a:r>
            <a:r>
              <a:rPr lang="en-US" baseline="0" dirty="0" smtClean="0"/>
              <a:t> S3, Evolution</a:t>
            </a:r>
          </a:p>
          <a:p>
            <a:endParaRPr lang="en-US" baseline="0" dirty="0" smtClean="0"/>
          </a:p>
          <a:p>
            <a:r>
              <a:rPr lang="en-US" baseline="0" dirty="0" smtClean="0"/>
              <a:t>Wesley Crusher was just called up to the bridge, so he’s putting his </a:t>
            </a:r>
            <a:r>
              <a:rPr lang="en-US" baseline="0" dirty="0" err="1" smtClean="0"/>
              <a:t>nanites</a:t>
            </a:r>
            <a:r>
              <a:rPr lang="en-US" baseline="0" dirty="0" smtClean="0"/>
              <a:t> away.</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12</a:t>
            </a:fld>
            <a:endParaRPr lang="en-AU"/>
          </a:p>
        </p:txBody>
      </p:sp>
    </p:spTree>
    <p:extLst>
      <p:ext uri="{BB962C8B-B14F-4D97-AF65-F5344CB8AC3E}">
        <p14:creationId xmlns:p14="http://schemas.microsoft.com/office/powerpoint/2010/main" val="21363226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7906" lvl="1" indent="-228600">
              <a:buFont typeface="+mj-lt"/>
              <a:buAutoNum type="arabicPeriod"/>
            </a:pPr>
            <a:r>
              <a:rPr lang="en-US" sz="1200" b="1" kern="1200" dirty="0" smtClean="0">
                <a:solidFill>
                  <a:schemeClr val="tx1"/>
                </a:solidFill>
                <a:effectLst/>
                <a:latin typeface="Segoe UI Light" pitchFamily="34" charset="0"/>
                <a:ea typeface="+mn-ea"/>
                <a:cs typeface="+mn-cs"/>
              </a:rPr>
              <a:t>Physical “things” </a:t>
            </a:r>
            <a:r>
              <a:rPr lang="en-US" sz="1200" kern="1200" dirty="0" smtClean="0">
                <a:solidFill>
                  <a:schemeClr val="tx1"/>
                </a:solidFill>
                <a:effectLst/>
                <a:latin typeface="Segoe UI Light" pitchFamily="34" charset="0"/>
                <a:ea typeface="+mn-ea"/>
                <a:cs typeface="+mn-cs"/>
              </a:rPr>
              <a:t>such as devices and sensors.</a:t>
            </a:r>
            <a:r>
              <a:rPr lang="en-US" sz="1200" kern="1200" baseline="0" dirty="0" smtClean="0">
                <a:solidFill>
                  <a:schemeClr val="tx1"/>
                </a:solidFill>
                <a:effectLst/>
                <a:latin typeface="Segoe UI Light" pitchFamily="34" charset="0"/>
                <a:ea typeface="+mn-ea"/>
                <a:cs typeface="+mn-cs"/>
              </a:rPr>
              <a:t> This is the easy part. Costs are going down.</a:t>
            </a:r>
            <a:endParaRPr lang="en-US" sz="1200" kern="1200" dirty="0" smtClean="0">
              <a:solidFill>
                <a:schemeClr val="tx1"/>
              </a:solidFill>
              <a:effectLst/>
              <a:latin typeface="Segoe UI Light" pitchFamily="34" charset="0"/>
              <a:ea typeface="+mn-ea"/>
              <a:cs typeface="+mn-cs"/>
            </a:endParaRPr>
          </a:p>
          <a:p>
            <a:pPr marL="337906" lvl="1" indent="-228600">
              <a:buFont typeface="+mj-lt"/>
              <a:buAutoNum type="arabicPeriod"/>
            </a:pPr>
            <a:endParaRPr lang="en-US" sz="1200" kern="1200" dirty="0" smtClean="0">
              <a:solidFill>
                <a:schemeClr val="tx1"/>
              </a:solidFill>
              <a:effectLst/>
              <a:latin typeface="Segoe UI Light" pitchFamily="34" charset="0"/>
              <a:ea typeface="+mn-ea"/>
              <a:cs typeface="+mn-cs"/>
            </a:endParaRPr>
          </a:p>
          <a:p>
            <a:pPr marL="109306" lvl="1" indent="0">
              <a:buFont typeface="+mj-lt"/>
              <a:buNone/>
            </a:pPr>
            <a:endParaRPr lang="en-US" sz="1200" kern="1200" dirty="0" smtClean="0">
              <a:solidFill>
                <a:schemeClr val="tx1"/>
              </a:solidFill>
              <a:effectLst/>
              <a:latin typeface="Segoe UI Light" pitchFamily="34" charset="0"/>
              <a:ea typeface="+mn-ea"/>
              <a:cs typeface="+mn-cs"/>
            </a:endParaRPr>
          </a:p>
          <a:p>
            <a:pPr marL="109306" lvl="1" indent="0">
              <a:buFont typeface="+mj-lt"/>
              <a:buNone/>
            </a:pPr>
            <a:r>
              <a:rPr lang="en-US" sz="1200" b="1" kern="1200" dirty="0" smtClean="0">
                <a:solidFill>
                  <a:schemeClr val="tx1"/>
                </a:solidFill>
                <a:effectLst/>
                <a:latin typeface="Segoe UI Light" pitchFamily="34" charset="0"/>
                <a:ea typeface="+mn-ea"/>
                <a:cs typeface="+mn-cs"/>
              </a:rPr>
              <a:t>New and</a:t>
            </a:r>
            <a:r>
              <a:rPr lang="en-US" sz="1200" b="1" kern="1200" baseline="0" dirty="0" smtClean="0">
                <a:solidFill>
                  <a:schemeClr val="tx1"/>
                </a:solidFill>
                <a:effectLst/>
                <a:latin typeface="Segoe UI Light" pitchFamily="34" charset="0"/>
                <a:ea typeface="+mn-ea"/>
                <a:cs typeface="+mn-cs"/>
              </a:rPr>
              <a:t> improved!</a:t>
            </a:r>
            <a:endParaRPr lang="en-US" sz="1200" b="1" kern="1200" dirty="0" smtClean="0">
              <a:solidFill>
                <a:schemeClr val="tx1"/>
              </a:solidFill>
              <a:effectLst/>
              <a:latin typeface="Segoe UI Light" pitchFamily="34" charset="0"/>
              <a:ea typeface="+mn-ea"/>
              <a:cs typeface="+mn-cs"/>
            </a:endParaRPr>
          </a:p>
          <a:p>
            <a:pPr marL="337906" lvl="1" indent="-228600">
              <a:buFont typeface="+mj-lt"/>
              <a:buAutoNum type="arabicPeriod"/>
            </a:pPr>
            <a:r>
              <a:rPr lang="en-US" sz="1200" kern="1200" dirty="0" smtClean="0">
                <a:solidFill>
                  <a:schemeClr val="tx1"/>
                </a:solidFill>
                <a:effectLst/>
                <a:latin typeface="Segoe UI Light" pitchFamily="34" charset="0"/>
                <a:ea typeface="+mn-ea"/>
                <a:cs typeface="+mn-cs"/>
              </a:rPr>
              <a:t>Those “things” that have </a:t>
            </a:r>
            <a:r>
              <a:rPr lang="en-US" sz="1200" b="1" kern="1200" dirty="0" smtClean="0">
                <a:solidFill>
                  <a:schemeClr val="tx1"/>
                </a:solidFill>
                <a:effectLst/>
                <a:latin typeface="Segoe UI Light" pitchFamily="34" charset="0"/>
                <a:ea typeface="+mn-ea"/>
                <a:cs typeface="+mn-cs"/>
              </a:rPr>
              <a:t>connectivity</a:t>
            </a:r>
            <a:r>
              <a:rPr lang="en-US" sz="1200" kern="1200" dirty="0" smtClean="0">
                <a:solidFill>
                  <a:schemeClr val="tx1"/>
                </a:solidFill>
                <a:effectLst/>
                <a:latin typeface="Segoe UI Light" pitchFamily="34" charset="0"/>
                <a:ea typeface="+mn-ea"/>
                <a:cs typeface="+mn-cs"/>
              </a:rPr>
              <a:t> to either the internet or to each other or humans</a:t>
            </a:r>
          </a:p>
          <a:p>
            <a:pPr marL="337906" lvl="1" indent="-228600">
              <a:buFont typeface="+mj-lt"/>
              <a:buAutoNum type="arabicPeriod"/>
            </a:pPr>
            <a:r>
              <a:rPr lang="en-US" sz="1200" kern="1200" dirty="0" smtClean="0">
                <a:solidFill>
                  <a:schemeClr val="tx1"/>
                </a:solidFill>
                <a:effectLst/>
                <a:latin typeface="Segoe UI Light" pitchFamily="34" charset="0"/>
                <a:ea typeface="+mn-ea"/>
                <a:cs typeface="+mn-cs"/>
              </a:rPr>
              <a:t>These things have the ability to </a:t>
            </a:r>
            <a:r>
              <a:rPr lang="en-US" sz="1200" b="1" kern="1200" dirty="0" smtClean="0">
                <a:solidFill>
                  <a:schemeClr val="tx1"/>
                </a:solidFill>
                <a:effectLst/>
                <a:latin typeface="Segoe UI Light" pitchFamily="34" charset="0"/>
                <a:ea typeface="+mn-ea"/>
                <a:cs typeface="+mn-cs"/>
              </a:rPr>
              <a:t>collect and communicate information</a:t>
            </a:r>
            <a:endParaRPr lang="en-US" sz="1200" kern="1200" dirty="0" smtClean="0">
              <a:solidFill>
                <a:schemeClr val="tx1"/>
              </a:solidFill>
              <a:effectLst/>
              <a:latin typeface="Segoe UI Light" pitchFamily="34" charset="0"/>
              <a:ea typeface="+mn-ea"/>
              <a:cs typeface="+mn-cs"/>
            </a:endParaRPr>
          </a:p>
          <a:p>
            <a:pPr marL="337906" lvl="1" indent="-228600">
              <a:buFont typeface="+mj-lt"/>
              <a:buAutoNum type="arabicPeriod"/>
            </a:pPr>
            <a:r>
              <a:rPr lang="en-US" sz="1200" b="1" kern="1200" dirty="0" smtClean="0">
                <a:solidFill>
                  <a:schemeClr val="tx1"/>
                </a:solidFill>
                <a:effectLst/>
                <a:latin typeface="Segoe UI Light" pitchFamily="34" charset="0"/>
                <a:ea typeface="+mn-ea"/>
                <a:cs typeface="+mn-cs"/>
              </a:rPr>
              <a:t>Analytics</a:t>
            </a:r>
            <a:r>
              <a:rPr lang="en-US" sz="1200" kern="1200" dirty="0" smtClean="0">
                <a:solidFill>
                  <a:schemeClr val="tx1"/>
                </a:solidFill>
                <a:effectLst/>
                <a:latin typeface="Segoe UI Light" pitchFamily="34" charset="0"/>
                <a:ea typeface="+mn-ea"/>
                <a:cs typeface="+mn-cs"/>
              </a:rPr>
              <a:t> gives</a:t>
            </a:r>
            <a:r>
              <a:rPr lang="en-US" sz="1200" kern="1200" baseline="0" dirty="0" smtClean="0">
                <a:solidFill>
                  <a:schemeClr val="tx1"/>
                </a:solidFill>
                <a:effectLst/>
                <a:latin typeface="Segoe UI Light" pitchFamily="34" charset="0"/>
                <a:ea typeface="+mn-ea"/>
                <a:cs typeface="+mn-cs"/>
              </a:rPr>
              <a:t> us information to make decisions</a:t>
            </a:r>
            <a:endParaRPr lang="en-US" sz="1200" kern="1200" dirty="0" smtClean="0">
              <a:solidFill>
                <a:schemeClr val="tx1"/>
              </a:solidFill>
              <a:effectLst/>
              <a:latin typeface="Segoe UI Light" pitchFamily="34" charset="0"/>
              <a:ea typeface="+mn-ea"/>
              <a:cs typeface="+mn-cs"/>
            </a:endParaRPr>
          </a:p>
          <a:p>
            <a:pPr>
              <a:lnSpc>
                <a:spcPct val="115000"/>
              </a:lnSpc>
              <a:spcAft>
                <a:spcPts val="1030"/>
              </a:spcAft>
            </a:pPr>
            <a:endParaRPr lang="en-US" dirty="0">
              <a:solidFill>
                <a:srgbClr val="595959"/>
              </a:solidFill>
              <a:latin typeface="Segoe UI" panose="020B0502040204020203"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0" y="8685213"/>
            <a:ext cx="2971800" cy="458787"/>
          </a:xfrm>
          <a:prstGeom prst="rect">
            <a:avLst/>
          </a:prstGeom>
        </p:spPr>
        <p:txBody>
          <a:bodyPr/>
          <a:lstStyle/>
          <a:p>
            <a:pPr defTabSz="9403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03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a:xfrm>
            <a:off x="3884613" y="0"/>
            <a:ext cx="2971800" cy="458788"/>
          </a:xfrm>
          <a:prstGeom prst="rect">
            <a:avLst/>
          </a:prstGeom>
        </p:spPr>
        <p:txBody>
          <a:bodyPr/>
          <a:lstStyle/>
          <a:p>
            <a:fld id="{3AF89109-FECF-4F55-875E-EAF014861D0D}" type="datetime1">
              <a:rPr lang="en-US" smtClean="0">
                <a:solidFill>
                  <a:prstClr val="black"/>
                </a:solidFill>
              </a:rPr>
              <a:pPr/>
              <a:t>3/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512707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Azure has a lot of services that align well with IoT</a:t>
            </a:r>
            <a:r>
              <a:rPr lang="en-US" baseline="0" dirty="0" smtClean="0"/>
              <a:t> scenarios</a:t>
            </a:r>
            <a:endParaRPr lang="en-US" dirty="0" smtClean="0"/>
          </a:p>
          <a:p>
            <a:pPr marL="0" indent="0">
              <a:buFont typeface="Arial" panose="020B0604020202020204" pitchFamily="34" charset="0"/>
              <a:buNone/>
            </a:pPr>
            <a:endParaRPr lang="en-US" dirty="0" smtClean="0"/>
          </a:p>
          <a:p>
            <a:pPr marL="171450"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dirty="0" smtClean="0"/>
              <a:t>As we think about Azure IoT services, there are a collection of capabilities involved.</a:t>
            </a:r>
          </a:p>
          <a:p>
            <a:pPr marL="171450" indent="-171450">
              <a:buFont typeface="Arial" panose="020B0604020202020204" pitchFamily="34" charset="0"/>
              <a:buChar char="•"/>
            </a:pPr>
            <a:r>
              <a:rPr lang="en-US" dirty="0" smtClean="0"/>
              <a:t>First</a:t>
            </a:r>
            <a:r>
              <a:rPr lang="en-US" baseline="0" dirty="0" smtClean="0"/>
              <a:t> there are</a:t>
            </a:r>
            <a:r>
              <a:rPr lang="en-US" b="1" baseline="0" dirty="0" smtClean="0"/>
              <a:t> Producers</a:t>
            </a:r>
            <a:r>
              <a:rPr lang="en-US" baseline="0" dirty="0" smtClean="0"/>
              <a:t>.  These can be basic sensors, small form factor devices, traditional computer systems, or even complex assets made up of a number of data sources.</a:t>
            </a:r>
          </a:p>
          <a:p>
            <a:pPr marL="171450" indent="-171450">
              <a:buFont typeface="Arial" panose="020B0604020202020204" pitchFamily="34" charset="0"/>
              <a:buChar char="•"/>
            </a:pPr>
            <a:r>
              <a:rPr lang="en-US" baseline="0" dirty="0" smtClean="0"/>
              <a:t>Next we have the </a:t>
            </a:r>
            <a:r>
              <a:rPr lang="en-US" b="1" baseline="0" dirty="0" smtClean="0"/>
              <a:t>Connect Devices </a:t>
            </a:r>
            <a:r>
              <a:rPr lang="en-US" baseline="0" dirty="0" smtClean="0"/>
              <a:t>capabilities on the ingress level within and around Azure.  The primary destination is Service Bus &amp; Event Hubs, but this relies on client agent technology either at the edge device level or within a field or cloud gateway. We also have capabilities for other external data sources to provide data </a:t>
            </a:r>
          </a:p>
          <a:p>
            <a:pPr marL="171450" indent="-171450">
              <a:buFont typeface="Arial" panose="020B0604020202020204" pitchFamily="34" charset="0"/>
              <a:buChar char="•"/>
            </a:pPr>
            <a:r>
              <a:rPr lang="en-US" baseline="0" dirty="0" smtClean="0"/>
              <a:t>As data is </a:t>
            </a:r>
            <a:r>
              <a:rPr lang="en-US" baseline="0" dirty="0" err="1" smtClean="0"/>
              <a:t>ingressed</a:t>
            </a:r>
            <a:r>
              <a:rPr lang="en-US" baseline="0" dirty="0" smtClean="0"/>
              <a:t> to Azure, there are various </a:t>
            </a:r>
            <a:r>
              <a:rPr lang="en-US" b="1" baseline="0" dirty="0" smtClean="0"/>
              <a:t>Storage</a:t>
            </a:r>
            <a:r>
              <a:rPr lang="en-US" baseline="0" dirty="0" smtClean="0"/>
              <a:t> options there can be a number of destinations engaged.  Traditional database technology, table or blob, or even more complex destinations like Document DB are possible.  External or third party technologies can also be used.  This is where the flexibility and agility of a platform shows its strength,  This is where analysts like Gartner are forming opinions about just how robust our platform can be.</a:t>
            </a:r>
          </a:p>
          <a:p>
            <a:pPr marL="171450" indent="-171450">
              <a:buFont typeface="Arial" panose="020B0604020202020204" pitchFamily="34" charset="0"/>
              <a:buChar char="•"/>
            </a:pPr>
            <a:r>
              <a:rPr lang="en-US" baseline="0" dirty="0" smtClean="0"/>
              <a:t>As this data is processed in Azure, there are a number of capabilities that can be utilized.  Machine Learning, HD Insight, Stream Analytics are examples of tools that can </a:t>
            </a:r>
            <a:r>
              <a:rPr lang="en-US" b="1" baseline="0" dirty="0" smtClean="0"/>
              <a:t>analytics </a:t>
            </a:r>
            <a:r>
              <a:rPr lang="en-US" baseline="0" dirty="0" smtClean="0"/>
              <a:t>the data in various ways.</a:t>
            </a:r>
          </a:p>
          <a:p>
            <a:pPr marL="171450" indent="-171450">
              <a:buFont typeface="Arial" panose="020B0604020202020204" pitchFamily="34" charset="0"/>
              <a:buChar char="•"/>
            </a:pPr>
            <a:r>
              <a:rPr lang="en-US" baseline="0" dirty="0" smtClean="0"/>
              <a:t>Finally the concept of </a:t>
            </a:r>
            <a:r>
              <a:rPr lang="en-US" b="1" baseline="0" dirty="0" smtClean="0"/>
              <a:t>Take Actions </a:t>
            </a:r>
            <a:r>
              <a:rPr lang="en-US" baseline="0" dirty="0" smtClean="0"/>
              <a:t>uses Azure services. Data may populate a LOB portal, be pushed to apps, or presented in analytics and productivity tools.  These are all ways that the data gets out of these architecture points to allow organizations to use analysis to change / transform their business.</a:t>
            </a:r>
          </a:p>
          <a:p>
            <a:pPr marL="171450" indent="-171450">
              <a:buFont typeface="Arial" panose="020B0604020202020204" pitchFamily="34" charset="0"/>
              <a:buChar char="•"/>
            </a:pPr>
            <a:r>
              <a:rPr lang="en-US" dirty="0" smtClean="0"/>
              <a:t>Through all of these areas,</a:t>
            </a:r>
            <a:r>
              <a:rPr lang="en-US" baseline="0" dirty="0" smtClean="0"/>
              <a:t> there is the possibility of utilizing existing investments either within your Azure environment, or elsewhere.  </a:t>
            </a:r>
            <a:endParaRPr lang="en-US" dirty="0" smtClean="0"/>
          </a:p>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defTabSz="914400">
              <a:defRPr/>
            </a:pPr>
            <a:fld id="{0E0F7949-8AE9-4E5C-A2B1-913685B47E3F}" type="slidenum">
              <a:rPr lang="en-US" smtClean="0">
                <a:solidFill>
                  <a:prstClr val="black"/>
                </a:solidFill>
                <a:latin typeface="Calibri" panose="020F0502020204030204"/>
              </a:rPr>
              <a:pPr defTabSz="914400">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12088874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mn-lt"/>
                <a:ea typeface="+mn-ea"/>
                <a:cs typeface="+mn-cs"/>
              </a:rPr>
              <a:t>At convergence</a:t>
            </a:r>
            <a:r>
              <a:rPr lang="en-US" sz="1200" i="0" kern="1200" baseline="0" dirty="0" smtClean="0">
                <a:solidFill>
                  <a:schemeClr val="tx1"/>
                </a:solidFill>
                <a:effectLst/>
                <a:latin typeface="+mn-lt"/>
                <a:ea typeface="+mn-ea"/>
                <a:cs typeface="+mn-cs"/>
              </a:rPr>
              <a:t> we announced the Azure IoT suite. This is a set of services specifically designed to help you manage IoT scenario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Our initial applications</a:t>
            </a:r>
            <a:r>
              <a:rPr lang="en-US" sz="1200" kern="1200" baseline="0" dirty="0" smtClean="0">
                <a:solidFill>
                  <a:schemeClr val="tx1"/>
                </a:solidFill>
                <a:effectLst/>
                <a:latin typeface="+mn-lt"/>
                <a:ea typeface="+mn-ea"/>
                <a:cs typeface="+mn-cs"/>
              </a:rPr>
              <a:t> will include: </a:t>
            </a:r>
            <a:endParaRPr lang="en-US" sz="1200" b="1"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Remote monitoring:</a:t>
            </a:r>
          </a:p>
          <a:p>
            <a:pPr lvl="2"/>
            <a:r>
              <a:rPr lang="en-US" sz="1200" kern="1200" dirty="0" smtClean="0">
                <a:solidFill>
                  <a:schemeClr val="tx1"/>
                </a:solidFill>
                <a:effectLst/>
                <a:latin typeface="+mn-lt"/>
                <a:ea typeface="+mn-ea"/>
                <a:cs typeface="+mn-cs"/>
              </a:rPr>
              <a:t>Obtain insights on asset utilization and get alerts of conditions important to your business</a:t>
            </a:r>
          </a:p>
          <a:p>
            <a:pPr lvl="1"/>
            <a:r>
              <a:rPr lang="en-US" sz="1200" kern="1200" dirty="0" smtClean="0">
                <a:solidFill>
                  <a:schemeClr val="tx1"/>
                </a:solidFill>
                <a:effectLst/>
                <a:latin typeface="+mn-lt"/>
                <a:ea typeface="+mn-ea"/>
                <a:cs typeface="+mn-cs"/>
              </a:rPr>
              <a:t>Asset management:</a:t>
            </a:r>
          </a:p>
          <a:p>
            <a:pPr lvl="2"/>
            <a:r>
              <a:rPr lang="en-US" sz="1200" kern="1200" dirty="0" smtClean="0">
                <a:solidFill>
                  <a:schemeClr val="tx1"/>
                </a:solidFill>
                <a:effectLst/>
                <a:latin typeface="+mn-lt"/>
                <a:ea typeface="+mn-ea"/>
                <a:cs typeface="+mn-cs"/>
              </a:rPr>
              <a:t>Manage and control your assets through a centralized management portal. </a:t>
            </a:r>
          </a:p>
          <a:p>
            <a:pPr lvl="1"/>
            <a:r>
              <a:rPr lang="en-US" sz="1200" kern="1200" dirty="0" smtClean="0">
                <a:solidFill>
                  <a:schemeClr val="tx1"/>
                </a:solidFill>
                <a:effectLst/>
                <a:latin typeface="+mn-lt"/>
                <a:ea typeface="+mn-ea"/>
                <a:cs typeface="+mn-cs"/>
              </a:rPr>
              <a:t>Predictive maintenance:</a:t>
            </a:r>
          </a:p>
          <a:p>
            <a:pPr lvl="2"/>
            <a:r>
              <a:rPr lang="en-US" sz="1200" kern="1200" dirty="0" smtClean="0">
                <a:solidFill>
                  <a:schemeClr val="tx1"/>
                </a:solidFill>
                <a:effectLst/>
                <a:latin typeface="+mn-lt"/>
                <a:ea typeface="+mn-ea"/>
                <a:cs typeface="+mn-cs"/>
              </a:rPr>
              <a:t>Leverage data collected from your assets to train and publish predictive models to avoid costly down-time</a:t>
            </a:r>
          </a:p>
          <a:p>
            <a:pPr lvl="1"/>
            <a:r>
              <a:rPr lang="en-US" sz="1200" kern="1200" dirty="0" smtClean="0">
                <a:solidFill>
                  <a:schemeClr val="tx1"/>
                </a:solidFill>
                <a:effectLst/>
                <a:latin typeface="+mn-lt"/>
                <a:ea typeface="+mn-ea"/>
                <a:cs typeface="+mn-cs"/>
              </a:rPr>
              <a:t>And</a:t>
            </a:r>
            <a:r>
              <a:rPr lang="en-US" sz="1200" kern="1200" baseline="0" dirty="0" smtClean="0">
                <a:solidFill>
                  <a:schemeClr val="tx1"/>
                </a:solidFill>
                <a:effectLst/>
                <a:latin typeface="+mn-lt"/>
                <a:ea typeface="+mn-ea"/>
                <a:cs typeface="+mn-cs"/>
              </a:rPr>
              <a:t> we will have many future applications over time.  </a:t>
            </a: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C1E1D8D-1204-4C11-9A99-DC3CBA832A7C}" type="slidenum">
              <a:rPr lang="en-US" smtClean="0"/>
              <a:t>15</a:t>
            </a:fld>
            <a:endParaRPr lang="en-US"/>
          </a:p>
        </p:txBody>
      </p:sp>
    </p:spTree>
    <p:extLst>
      <p:ext uri="{BB962C8B-B14F-4D97-AF65-F5344CB8AC3E}">
        <p14:creationId xmlns:p14="http://schemas.microsoft.com/office/powerpoint/2010/main" val="23577030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sley</a:t>
            </a:r>
            <a:r>
              <a:rPr lang="en-US" baseline="0" dirty="0" smtClean="0"/>
              <a:t> has just realized some of the </a:t>
            </a:r>
            <a:r>
              <a:rPr lang="en-US" baseline="0" dirty="0" err="1" smtClean="0"/>
              <a:t>nanites</a:t>
            </a:r>
            <a:r>
              <a:rPr lang="en-US" baseline="0" dirty="0" smtClean="0"/>
              <a:t> have gone missing</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16</a:t>
            </a:fld>
            <a:endParaRPr lang="en-AU"/>
          </a:p>
        </p:txBody>
      </p:sp>
    </p:spTree>
    <p:extLst>
      <p:ext uri="{BB962C8B-B14F-4D97-AF65-F5344CB8AC3E}">
        <p14:creationId xmlns:p14="http://schemas.microsoft.com/office/powerpoint/2010/main" val="42278422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ir goal is within 5 years to be at 100%.</a:t>
            </a:r>
          </a:p>
          <a:p>
            <a:endParaRPr lang="en-US" dirty="0" smtClean="0"/>
          </a:p>
          <a:p>
            <a:r>
              <a:rPr lang="en-US" dirty="0" smtClean="0"/>
              <a:t>Samsung makes </a:t>
            </a:r>
            <a:r>
              <a:rPr lang="en-US" b="1" dirty="0" smtClean="0"/>
              <a:t>20 devices per second</a:t>
            </a:r>
            <a:r>
              <a:rPr lang="en-US" dirty="0" smtClean="0"/>
              <a:t>. This is big news.</a:t>
            </a:r>
          </a:p>
          <a:p>
            <a:endParaRPr lang="en-US" dirty="0" smtClean="0"/>
          </a:p>
          <a:p>
            <a:r>
              <a:rPr lang="en-US" dirty="0" smtClean="0"/>
              <a:t>IoT</a:t>
            </a:r>
            <a:r>
              <a:rPr lang="en-US" baseline="0" dirty="0" smtClean="0"/>
              <a:t> cost approaches zero.</a:t>
            </a:r>
          </a:p>
          <a:p>
            <a:endParaRPr lang="en-US" baseline="0" dirty="0" smtClean="0"/>
          </a:p>
          <a:p>
            <a:r>
              <a:rPr lang="en-US" baseline="0" dirty="0" smtClean="0"/>
              <a:t>Ok, maybe IoT is important.</a:t>
            </a:r>
            <a:endParaRPr lang="en-US" dirty="0" smtClean="0"/>
          </a:p>
        </p:txBody>
      </p:sp>
      <p:sp>
        <p:nvSpPr>
          <p:cNvPr id="4" name="Slide Number Placeholder 3"/>
          <p:cNvSpPr>
            <a:spLocks noGrp="1"/>
          </p:cNvSpPr>
          <p:nvPr>
            <p:ph type="sldNum" sz="quarter" idx="10"/>
          </p:nvPr>
        </p:nvSpPr>
        <p:spPr/>
        <p:txBody>
          <a:bodyPr/>
          <a:lstStyle/>
          <a:p>
            <a:fld id="{716ADE6C-1B6B-435D-8521-5097B11251C3}" type="slidenum">
              <a:rPr lang="en-AU" smtClean="0"/>
              <a:t>18</a:t>
            </a:fld>
            <a:endParaRPr lang="en-AU"/>
          </a:p>
        </p:txBody>
      </p:sp>
    </p:spTree>
    <p:extLst>
      <p:ext uri="{BB962C8B-B14F-4D97-AF65-F5344CB8AC3E}">
        <p14:creationId xmlns:p14="http://schemas.microsoft.com/office/powerpoint/2010/main" val="9301393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 use Windows?</a:t>
            </a:r>
          </a:p>
          <a:p>
            <a:endParaRPr lang="en-US" dirty="0" smtClean="0"/>
          </a:p>
          <a:p>
            <a:r>
              <a:rPr lang="en-US" dirty="0" smtClean="0"/>
              <a:t>Run universal apps</a:t>
            </a:r>
          </a:p>
          <a:p>
            <a:r>
              <a:rPr lang="en-US" dirty="0" smtClean="0"/>
              <a:t>Share your codebase</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19</a:t>
            </a:fld>
            <a:endParaRPr lang="en-AU"/>
          </a:p>
        </p:txBody>
      </p:sp>
    </p:spTree>
    <p:extLst>
      <p:ext uri="{BB962C8B-B14F-4D97-AF65-F5344CB8AC3E}">
        <p14:creationId xmlns:p14="http://schemas.microsoft.com/office/powerpoint/2010/main" val="22808195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cost of connectivity has been going down, and reliability has been going up.</a:t>
            </a:r>
          </a:p>
          <a:p>
            <a:endParaRPr lang="en-US" baseline="0" dirty="0" smtClean="0"/>
          </a:p>
          <a:p>
            <a:r>
              <a:rPr lang="en-US" baseline="0" dirty="0" smtClean="0"/>
              <a:t>Everything will </a:t>
            </a:r>
            <a:r>
              <a:rPr lang="en-US" baseline="0" smtClean="0"/>
              <a:t>be connected</a:t>
            </a:r>
            <a:endParaRPr lang="en-US" dirty="0" smtClean="0"/>
          </a:p>
          <a:p>
            <a:endParaRPr lang="en-US" dirty="0" smtClean="0"/>
          </a:p>
          <a:p>
            <a:r>
              <a:rPr lang="en-US" dirty="0" smtClean="0"/>
              <a:t>The</a:t>
            </a:r>
            <a:r>
              <a:rPr lang="en-US" baseline="0" dirty="0" smtClean="0"/>
              <a:t> cloud provides a central, scalable location to push data</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0</a:t>
            </a:fld>
            <a:endParaRPr lang="en-AU"/>
          </a:p>
        </p:txBody>
      </p:sp>
    </p:spTree>
    <p:extLst>
      <p:ext uri="{BB962C8B-B14F-4D97-AF65-F5344CB8AC3E}">
        <p14:creationId xmlns:p14="http://schemas.microsoft.com/office/powerpoint/2010/main" val="40702556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re supporting </a:t>
            </a:r>
            <a:r>
              <a:rPr lang="en-US" dirty="0" err="1" smtClean="0"/>
              <a:t>AllJoyn</a:t>
            </a:r>
            <a:r>
              <a:rPr lang="en-US" dirty="0" smtClean="0"/>
              <a:t> in Windows 10.</a:t>
            </a:r>
          </a:p>
          <a:p>
            <a:endParaRPr lang="en-US" dirty="0" smtClean="0"/>
          </a:p>
          <a:p>
            <a:r>
              <a:rPr lang="en-US" dirty="0" err="1" smtClean="0"/>
              <a:t>AllJoyn</a:t>
            </a:r>
            <a:r>
              <a:rPr lang="en-US" baseline="0" dirty="0" smtClean="0"/>
              <a:t> is a protocol that enables devices to interoperate.</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1</a:t>
            </a:fld>
            <a:endParaRPr lang="en-AU"/>
          </a:p>
        </p:txBody>
      </p:sp>
    </p:spTree>
    <p:extLst>
      <p:ext uri="{BB962C8B-B14F-4D97-AF65-F5344CB8AC3E}">
        <p14:creationId xmlns:p14="http://schemas.microsoft.com/office/powerpoint/2010/main" val="1539409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o you know what your top consumers of electricity</a:t>
            </a:r>
            <a:r>
              <a:rPr lang="en-US" baseline="0" dirty="0" smtClean="0"/>
              <a:t> are?</a:t>
            </a:r>
          </a:p>
          <a:p>
            <a:r>
              <a:rPr lang="en-US" baseline="0" dirty="0" smtClean="0"/>
              <a:t>Do you know if replacing your refrigerator would pay for itself?</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a:t>
            </a:fld>
            <a:endParaRPr lang="en-AU"/>
          </a:p>
        </p:txBody>
      </p:sp>
    </p:spTree>
    <p:extLst>
      <p:ext uri="{BB962C8B-B14F-4D97-AF65-F5344CB8AC3E}">
        <p14:creationId xmlns:p14="http://schemas.microsoft.com/office/powerpoint/2010/main" val="24815002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products</a:t>
            </a:r>
            <a:r>
              <a:rPr lang="en-US" baseline="0" dirty="0" smtClean="0"/>
              <a:t> that abstract the protocols away, and focus on activities</a:t>
            </a:r>
          </a:p>
          <a:p>
            <a:endParaRPr lang="en-US" baseline="0" dirty="0" smtClean="0"/>
          </a:p>
          <a:p>
            <a:r>
              <a:rPr lang="en-US" baseline="0" dirty="0" smtClean="0"/>
              <a:t>Most importantly, they focus on the user</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2</a:t>
            </a:fld>
            <a:endParaRPr lang="en-AU"/>
          </a:p>
        </p:txBody>
      </p:sp>
    </p:spTree>
    <p:extLst>
      <p:ext uri="{BB962C8B-B14F-4D97-AF65-F5344CB8AC3E}">
        <p14:creationId xmlns:p14="http://schemas.microsoft.com/office/powerpoint/2010/main" val="1160483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ach publisher has a SAS token that defines the policy and expiration</a:t>
            </a:r>
          </a:p>
          <a:p>
            <a:endParaRPr lang="en-US" dirty="0" smtClean="0"/>
          </a:p>
          <a:p>
            <a:r>
              <a:rPr lang="en-US" dirty="0" smtClean="0"/>
              <a:t>This</a:t>
            </a:r>
            <a:r>
              <a:rPr lang="en-US" baseline="0" dirty="0" smtClean="0"/>
              <a:t> is PER event hub</a:t>
            </a:r>
            <a:endParaRPr lang="en-US" dirty="0" smtClean="0"/>
          </a:p>
        </p:txBody>
      </p:sp>
      <p:sp>
        <p:nvSpPr>
          <p:cNvPr id="4" name="Slide Number Placeholder 3"/>
          <p:cNvSpPr>
            <a:spLocks noGrp="1"/>
          </p:cNvSpPr>
          <p:nvPr>
            <p:ph type="sldNum" sz="quarter" idx="10"/>
          </p:nvPr>
        </p:nvSpPr>
        <p:spPr/>
        <p:txBody>
          <a:bodyPr/>
          <a:lstStyle/>
          <a:p>
            <a:fld id="{716ADE6C-1B6B-435D-8521-5097B11251C3}" type="slidenum">
              <a:rPr lang="en-AU" smtClean="0"/>
              <a:t>23</a:t>
            </a:fld>
            <a:endParaRPr lang="en-AU"/>
          </a:p>
        </p:txBody>
      </p:sp>
    </p:spTree>
    <p:extLst>
      <p:ext uri="{BB962C8B-B14F-4D97-AF65-F5344CB8AC3E}">
        <p14:creationId xmlns:p14="http://schemas.microsoft.com/office/powerpoint/2010/main" val="19280962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6ADE6C-1B6B-435D-8521-5097B11251C3}" type="slidenum">
              <a:rPr lang="en-AU" smtClean="0"/>
              <a:t>31</a:t>
            </a:fld>
            <a:endParaRPr lang="en-AU"/>
          </a:p>
        </p:txBody>
      </p:sp>
    </p:spTree>
    <p:extLst>
      <p:ext uri="{BB962C8B-B14F-4D97-AF65-F5344CB8AC3E}">
        <p14:creationId xmlns:p14="http://schemas.microsoft.com/office/powerpoint/2010/main" val="36426220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6ADE6C-1B6B-435D-8521-5097B11251C3}" type="slidenum">
              <a:rPr lang="en-AU" smtClean="0"/>
              <a:t>32</a:t>
            </a:fld>
            <a:endParaRPr lang="en-AU"/>
          </a:p>
        </p:txBody>
      </p:sp>
    </p:spTree>
    <p:extLst>
      <p:ext uri="{BB962C8B-B14F-4D97-AF65-F5344CB8AC3E}">
        <p14:creationId xmlns:p14="http://schemas.microsoft.com/office/powerpoint/2010/main" val="8143675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ssues that are open sorted by date</a:t>
            </a:r>
          </a:p>
          <a:p>
            <a:r>
              <a:rPr lang="en-US" dirty="0" smtClean="0"/>
              <a:t>Issues that</a:t>
            </a:r>
            <a:r>
              <a:rPr lang="en-US" baseline="0" dirty="0" smtClean="0"/>
              <a:t> were closed by </a:t>
            </a:r>
            <a:r>
              <a:rPr lang="en-US" baseline="0" dirty="0" err="1" smtClean="0"/>
              <a:t>stephentoub</a:t>
            </a:r>
            <a:endParaRPr lang="en-US" baseline="0" dirty="0" smtClean="0"/>
          </a:p>
          <a:p>
            <a:r>
              <a:rPr lang="en-US" baseline="0" smtClean="0"/>
              <a:t>Average time to close in hours</a:t>
            </a:r>
            <a:endParaRPr lang="en-US"/>
          </a:p>
        </p:txBody>
      </p:sp>
      <p:sp>
        <p:nvSpPr>
          <p:cNvPr id="4" name="Slide Number Placeholder 3"/>
          <p:cNvSpPr>
            <a:spLocks noGrp="1"/>
          </p:cNvSpPr>
          <p:nvPr>
            <p:ph type="sldNum" sz="quarter" idx="10"/>
          </p:nvPr>
        </p:nvSpPr>
        <p:spPr/>
        <p:txBody>
          <a:bodyPr/>
          <a:lstStyle/>
          <a:p>
            <a:fld id="{716ADE6C-1B6B-435D-8521-5097B11251C3}" type="slidenum">
              <a:rPr lang="en-AU" smtClean="0"/>
              <a:t>33</a:t>
            </a:fld>
            <a:endParaRPr lang="en-AU"/>
          </a:p>
        </p:txBody>
      </p:sp>
    </p:spTree>
    <p:extLst>
      <p:ext uri="{BB962C8B-B14F-4D97-AF65-F5344CB8AC3E}">
        <p14:creationId xmlns:p14="http://schemas.microsoft.com/office/powerpoint/2010/main" val="39497958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6ADE6C-1B6B-435D-8521-5097B11251C3}" type="slidenum">
              <a:rPr lang="en-AU" smtClean="0"/>
              <a:t>34</a:t>
            </a:fld>
            <a:endParaRPr lang="en-AU"/>
          </a:p>
        </p:txBody>
      </p:sp>
    </p:spTree>
    <p:extLst>
      <p:ext uri="{BB962C8B-B14F-4D97-AF65-F5344CB8AC3E}">
        <p14:creationId xmlns:p14="http://schemas.microsoft.com/office/powerpoint/2010/main" val="24657305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doesn’t look good. Wesley is still looking for the </a:t>
            </a:r>
            <a:r>
              <a:rPr lang="en-US" baseline="0" dirty="0" err="1" smtClean="0"/>
              <a:t>nanites</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5</a:t>
            </a:fld>
            <a:endParaRPr lang="en-AU"/>
          </a:p>
        </p:txBody>
      </p:sp>
    </p:spTree>
    <p:extLst>
      <p:ext uri="{BB962C8B-B14F-4D97-AF65-F5344CB8AC3E}">
        <p14:creationId xmlns:p14="http://schemas.microsoft.com/office/powerpoint/2010/main" val="30252285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cloud provides a scalable, reliable place to store data</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6</a:t>
            </a:fld>
            <a:endParaRPr lang="en-AU"/>
          </a:p>
        </p:txBody>
      </p:sp>
    </p:spTree>
    <p:extLst>
      <p:ext uri="{BB962C8B-B14F-4D97-AF65-F5344CB8AC3E}">
        <p14:creationId xmlns:p14="http://schemas.microsoft.com/office/powerpoint/2010/main" val="15292461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Create SQL database</a:t>
            </a:r>
          </a:p>
          <a:p>
            <a:pPr marL="171450" indent="-171450">
              <a:buFont typeface="Arial" panose="020B0604020202020204" pitchFamily="34" charset="0"/>
              <a:buChar char="•"/>
            </a:pPr>
            <a:r>
              <a:rPr lang="en-US" dirty="0" smtClean="0"/>
              <a:t>Create analytics stream</a:t>
            </a:r>
          </a:p>
          <a:p>
            <a:pPr marL="171450" indent="-171450">
              <a:buFont typeface="Arial" panose="020B0604020202020204" pitchFamily="34" charset="0"/>
              <a:buChar char="•"/>
            </a:pPr>
            <a:r>
              <a:rPr lang="en-US" dirty="0" smtClean="0"/>
              <a:t>Connect</a:t>
            </a:r>
            <a:r>
              <a:rPr lang="en-US" baseline="0" dirty="0" smtClean="0"/>
              <a:t> to the database</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DocumentDB is a cloud-native JSON document store</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7</a:t>
            </a:fld>
            <a:endParaRPr lang="en-AU"/>
          </a:p>
        </p:txBody>
      </p:sp>
    </p:spTree>
    <p:extLst>
      <p:ext uri="{BB962C8B-B14F-4D97-AF65-F5344CB8AC3E}">
        <p14:creationId xmlns:p14="http://schemas.microsoft.com/office/powerpoint/2010/main" val="30947362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cloud provides a scalable solution for doing big data analytics and on-demand queries</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8</a:t>
            </a:fld>
            <a:endParaRPr lang="en-AU"/>
          </a:p>
        </p:txBody>
      </p:sp>
    </p:spTree>
    <p:extLst>
      <p:ext uri="{BB962C8B-B14F-4D97-AF65-F5344CB8AC3E}">
        <p14:creationId xmlns:p14="http://schemas.microsoft.com/office/powerpoint/2010/main" val="3300412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o you know when something</a:t>
            </a:r>
            <a:r>
              <a:rPr lang="en-US" baseline="0" dirty="0" smtClean="0"/>
              <a:t> is going to fail in your car?</a:t>
            </a:r>
          </a:p>
          <a:p>
            <a:r>
              <a:rPr lang="en-US" baseline="0" dirty="0" smtClean="0"/>
              <a:t>Does your mechanic?</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a:t>
            </a:fld>
            <a:endParaRPr lang="en-AU"/>
          </a:p>
        </p:txBody>
      </p:sp>
    </p:spTree>
    <p:extLst>
      <p:ext uri="{BB962C8B-B14F-4D97-AF65-F5344CB8AC3E}">
        <p14:creationId xmlns:p14="http://schemas.microsoft.com/office/powerpoint/2010/main" val="31270187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alytics is the process</a:t>
            </a:r>
            <a:r>
              <a:rPr lang="en-US" baseline="0" dirty="0" smtClean="0"/>
              <a:t> of taking all of the data that used to go unused, and turn it into information, knowledge, and wisdom.</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9</a:t>
            </a:fld>
            <a:endParaRPr lang="en-AU"/>
          </a:p>
        </p:txBody>
      </p:sp>
    </p:spTree>
    <p:extLst>
      <p:ext uri="{BB962C8B-B14F-4D97-AF65-F5344CB8AC3E}">
        <p14:creationId xmlns:p14="http://schemas.microsoft.com/office/powerpoint/2010/main" val="357490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tput to another event hub, blob</a:t>
            </a:r>
            <a:r>
              <a:rPr lang="en-US" baseline="0" dirty="0" smtClean="0"/>
              <a:t> storage, or SQL database</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0</a:t>
            </a:fld>
            <a:endParaRPr lang="en-AU"/>
          </a:p>
        </p:txBody>
      </p:sp>
    </p:spTree>
    <p:extLst>
      <p:ext uri="{BB962C8B-B14F-4D97-AF65-F5344CB8AC3E}">
        <p14:creationId xmlns:p14="http://schemas.microsoft.com/office/powerpoint/2010/main" val="30423419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use cases is</a:t>
            </a:r>
            <a:r>
              <a:rPr lang="en-US" b="1" dirty="0" smtClean="0"/>
              <a:t> predictive</a:t>
            </a:r>
            <a:r>
              <a:rPr lang="en-US" baseline="0" dirty="0" smtClean="0"/>
              <a:t> </a:t>
            </a:r>
            <a:r>
              <a:rPr lang="en-US" baseline="0" dirty="0" smtClean="0"/>
              <a:t>maintenance</a:t>
            </a:r>
            <a:endParaRPr lang="en-US" dirty="0" smtClean="0"/>
          </a:p>
          <a:p>
            <a:endParaRPr lang="en-US" dirty="0" smtClean="0"/>
          </a:p>
          <a:p>
            <a:r>
              <a:rPr lang="en-US" dirty="0" smtClean="0"/>
              <a:t>Read this: http://www.citeworld.com/article/2366161/big-data-analytics/microsoft-azure-ml-overview.html</a:t>
            </a:r>
          </a:p>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1</a:t>
            </a:fld>
            <a:endParaRPr lang="en-AU"/>
          </a:p>
        </p:txBody>
      </p:sp>
    </p:spTree>
    <p:extLst>
      <p:ext uri="{BB962C8B-B14F-4D97-AF65-F5344CB8AC3E}">
        <p14:creationId xmlns:p14="http://schemas.microsoft.com/office/powerpoint/2010/main" val="32645658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2</a:t>
            </a:fld>
            <a:endParaRPr lang="en-AU"/>
          </a:p>
        </p:txBody>
      </p:sp>
    </p:spTree>
    <p:extLst>
      <p:ext uri="{BB962C8B-B14F-4D97-AF65-F5344CB8AC3E}">
        <p14:creationId xmlns:p14="http://schemas.microsoft.com/office/powerpoint/2010/main" val="18330494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replicators are going haywire</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3</a:t>
            </a:fld>
            <a:endParaRPr lang="en-AU"/>
          </a:p>
        </p:txBody>
      </p:sp>
    </p:spTree>
    <p:extLst>
      <p:ext uri="{BB962C8B-B14F-4D97-AF65-F5344CB8AC3E}">
        <p14:creationId xmlns:p14="http://schemas.microsoft.com/office/powerpoint/2010/main" val="34848221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Manufacturing Plant</a:t>
            </a:r>
          </a:p>
          <a:p>
            <a:pPr marL="171450" indent="-171450" rtl="0" fontAlgn="ctr">
              <a:buFont typeface="Arial" panose="020B0604020202020204" pitchFamily="34" charset="0"/>
              <a:buChar char="•"/>
            </a:pPr>
            <a:r>
              <a:rPr lang="en-US" sz="1200" b="0" kern="1200" baseline="0" dirty="0" smtClean="0">
                <a:solidFill>
                  <a:schemeClr val="tx1"/>
                </a:solidFill>
                <a:effectLst/>
                <a:latin typeface="+mn-lt"/>
                <a:ea typeface="+mn-ea"/>
                <a:cs typeface="+mn-cs"/>
              </a:rPr>
              <a:t>M</a:t>
            </a:r>
            <a:r>
              <a:rPr lang="en-US" sz="1200" kern="1200" dirty="0" smtClean="0">
                <a:solidFill>
                  <a:schemeClr val="tx1"/>
                </a:solidFill>
                <a:effectLst/>
                <a:latin typeface="+mn-lt"/>
                <a:ea typeface="+mn-ea"/>
                <a:cs typeface="+mn-cs"/>
              </a:rPr>
              <a:t>anage</a:t>
            </a:r>
            <a:r>
              <a:rPr lang="en-US" sz="1200" kern="1200" baseline="0" dirty="0" smtClean="0">
                <a:solidFill>
                  <a:schemeClr val="tx1"/>
                </a:solidFill>
                <a:effectLst/>
                <a:latin typeface="+mn-lt"/>
                <a:ea typeface="+mn-ea"/>
                <a:cs typeface="+mn-cs"/>
              </a:rPr>
              <a:t> data remotely from a centralized location and push updates and key notifications to the factory floor, making relevant information available to manufacturing employees.</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Monitor whether components are arriving at the plant floor as expected, and slow production if needed to reduce or eliminate excess work-in-process inventory</a:t>
            </a:r>
            <a:endParaRPr lang="en-US" sz="1200" kern="1200" dirty="0" smtClean="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Predefine rules for equipment use and plant management (e.g. shut down production or equipment based on demand or environmental data), to optimize productivity and profitability</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Establish predictive maintenance schedules - with planned maintenance, cost of operations can be reduced and throughput can be increased</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Identify and correct quality issues – with IoT and the ability to perform Big Data analytics, manufacturers can increase the number of quality checks that are performed, collect more quality inspection data and analyze more data than ever before. This enables them to spot defect patterns, and correct them more quickly. This also enables manufacturers to create predictive algorithms so that times/places where quality issues may occur are identified ahead of time. (e.g. extra humid day might imply more likelihood of quality issues)</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Customer Site and Third-Party</a:t>
            </a:r>
            <a:r>
              <a:rPr lang="en-US" sz="1200" b="1" kern="1200" baseline="0" dirty="0" smtClean="0">
                <a:solidFill>
                  <a:schemeClr val="tx1"/>
                </a:solidFill>
                <a:effectLst/>
                <a:latin typeface="+mn-lt"/>
                <a:ea typeface="+mn-ea"/>
                <a:cs typeface="+mn-cs"/>
              </a:rPr>
              <a:t> Logistics</a:t>
            </a:r>
            <a:endParaRPr lang="en-US" sz="1200" b="1" kern="1200" dirty="0" smtClean="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kern="1200" dirty="0" smtClean="0">
                <a:solidFill>
                  <a:schemeClr val="tx1"/>
                </a:solidFill>
                <a:effectLst/>
                <a:latin typeface="+mn-lt"/>
                <a:ea typeface="+mn-ea"/>
                <a:cs typeface="+mn-cs"/>
              </a:rPr>
              <a:t>Continue to collect data from products once</a:t>
            </a:r>
            <a:r>
              <a:rPr lang="en-US" sz="1200" kern="1200" baseline="0" dirty="0" smtClean="0">
                <a:solidFill>
                  <a:schemeClr val="tx1"/>
                </a:solidFill>
                <a:effectLst/>
                <a:latin typeface="+mn-lt"/>
                <a:ea typeface="+mn-ea"/>
                <a:cs typeface="+mn-cs"/>
              </a:rPr>
              <a:t> they leave the factory floor (e.g. throughout the distribution process and once implemented into customer sites) to help drive predictive maintenance and inform product improvements </a:t>
            </a:r>
          </a:p>
          <a:p>
            <a:pPr marL="628650" lvl="1"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E.g. a water pump could send data indicating that it will break down in 2-3 weeks. An analyst at the customer’s OEM or service provider could determine whether the pump is in need of simple repairs, or whether it makes sense to refurbish it. The analyst could also identify a spare parts promotion that the customer could take advantage of so the customer is prepared for future maintenance needs</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Access more data than ever before and integrate with 3</a:t>
            </a:r>
            <a:r>
              <a:rPr lang="en-US" sz="1200" kern="1200" baseline="30000" dirty="0" smtClean="0">
                <a:solidFill>
                  <a:schemeClr val="tx1"/>
                </a:solidFill>
                <a:effectLst/>
                <a:latin typeface="+mn-lt"/>
                <a:ea typeface="+mn-ea"/>
                <a:cs typeface="+mn-cs"/>
              </a:rPr>
              <a:t>rd</a:t>
            </a:r>
            <a:r>
              <a:rPr lang="en-US" sz="1200" kern="1200" baseline="0" dirty="0" smtClean="0">
                <a:solidFill>
                  <a:schemeClr val="tx1"/>
                </a:solidFill>
                <a:effectLst/>
                <a:latin typeface="+mn-lt"/>
                <a:ea typeface="+mn-ea"/>
                <a:cs typeface="+mn-cs"/>
              </a:rPr>
              <a:t> party syndicated data to improve process and quality control (e.g. use data on regional weather patterns to determine locations where weather conditions will result in higher demand, or view data about fuel and other input prices to predict profit margins)</a:t>
            </a:r>
          </a:p>
          <a:p>
            <a:pPr marL="171450" indent="-171450" rtl="0" fontAlgn="ctr">
              <a:buFont typeface="Arial" panose="020B0604020202020204" pitchFamily="34" charset="0"/>
              <a:buChar char="•"/>
            </a:pPr>
            <a:r>
              <a:rPr lang="en-US" sz="1200" kern="1200" baseline="0" dirty="0" smtClean="0">
                <a:solidFill>
                  <a:schemeClr val="tx1"/>
                </a:solidFill>
                <a:effectLst/>
                <a:latin typeface="+mn-lt"/>
                <a:ea typeface="+mn-ea"/>
                <a:cs typeface="+mn-cs"/>
              </a:rPr>
              <a:t>Provide ‘single pane of glass’ visibility across all distribution/sales channels – this enables better inventory management and savings on logistics and distribution costs because the full channel would know would where products are, so redundancies can be reduced </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Global Operations</a:t>
            </a:r>
          </a:p>
          <a:p>
            <a:pPr marL="171450" indent="-171450">
              <a:buFont typeface="Arial" panose="020B0604020202020204" pitchFamily="34" charset="0"/>
              <a:buChar char="•"/>
            </a:pPr>
            <a:r>
              <a:rPr lang="en-US" sz="1200" b="0" kern="1200" baseline="0" dirty="0" smtClean="0">
                <a:solidFill>
                  <a:schemeClr val="tx1"/>
                </a:solidFill>
                <a:effectLst/>
                <a:latin typeface="+mn-lt"/>
                <a:ea typeface="+mn-ea"/>
                <a:cs typeface="+mn-cs"/>
              </a:rPr>
              <a:t>powerful BI tools – derive business insights from Big Data analytics</a:t>
            </a:r>
          </a:p>
          <a:p>
            <a:pPr marL="171450" indent="-171450">
              <a:buFont typeface="Arial" panose="020B0604020202020204" pitchFamily="34" charset="0"/>
              <a:buChar char="•"/>
            </a:pPr>
            <a:r>
              <a:rPr lang="en-US" sz="1200" b="0" kern="1200" baseline="0" dirty="0" smtClean="0">
                <a:solidFill>
                  <a:schemeClr val="tx1"/>
                </a:solidFill>
                <a:effectLst/>
                <a:latin typeface="+mn-lt"/>
                <a:ea typeface="+mn-ea"/>
                <a:cs typeface="+mn-cs"/>
              </a:rPr>
              <a:t>Make data available to the right individuals for a variety of purposes based on role, such as product development, facility and device servicing, or business and operations management</a:t>
            </a:r>
            <a:endParaRPr lang="en-US" b="1" baseline="0" dirty="0" smtClean="0"/>
          </a:p>
        </p:txBody>
      </p:sp>
      <p:sp>
        <p:nvSpPr>
          <p:cNvPr id="4" name="Slide Number Placeholder 3"/>
          <p:cNvSpPr>
            <a:spLocks noGrp="1"/>
          </p:cNvSpPr>
          <p:nvPr>
            <p:ph type="sldNum" sz="quarter" idx="10"/>
          </p:nvPr>
        </p:nvSpPr>
        <p:spPr/>
        <p:txBody>
          <a:bodyPr/>
          <a:lstStyle/>
          <a:p>
            <a:fld id="{18269D8A-B09A-4BAD-8E2F-54EE9DD79BDF}"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1178648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6</a:t>
            </a:fld>
            <a:endParaRPr lang="en-AU"/>
          </a:p>
        </p:txBody>
      </p:sp>
    </p:spTree>
    <p:extLst>
      <p:ext uri="{BB962C8B-B14F-4D97-AF65-F5344CB8AC3E}">
        <p14:creationId xmlns:p14="http://schemas.microsoft.com/office/powerpoint/2010/main" val="41003163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nect</a:t>
            </a:r>
            <a:r>
              <a:rPr lang="en-US" baseline="0" dirty="0" smtClean="0"/>
              <a:t>TheDots.io</a:t>
            </a:r>
            <a:endParaRPr lang="en-US" dirty="0" smtClean="0"/>
          </a:p>
          <a:p>
            <a:endParaRPr lang="en-US" dirty="0" smtClean="0"/>
          </a:p>
          <a:p>
            <a:r>
              <a:rPr lang="en-US" dirty="0" smtClean="0"/>
              <a:t>This is a great solution for hackathons</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7</a:t>
            </a:fld>
            <a:endParaRPr lang="en-AU"/>
          </a:p>
        </p:txBody>
      </p:sp>
    </p:spTree>
    <p:extLst>
      <p:ext uri="{BB962C8B-B14F-4D97-AF65-F5344CB8AC3E}">
        <p14:creationId xmlns:p14="http://schemas.microsoft.com/office/powerpoint/2010/main" val="13296362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nufacturing generates more data than any other industry. There is so much low </a:t>
            </a:r>
            <a:r>
              <a:rPr lang="en-US" smtClean="0"/>
              <a:t>hanging fruit.</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9</a:t>
            </a:fld>
            <a:endParaRPr lang="en-AU"/>
          </a:p>
        </p:txBody>
      </p:sp>
    </p:spTree>
    <p:extLst>
      <p:ext uri="{BB962C8B-B14F-4D97-AF65-F5344CB8AC3E}">
        <p14:creationId xmlns:p14="http://schemas.microsoft.com/office/powerpoint/2010/main" val="14442577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t>
            </a:r>
            <a:r>
              <a:rPr lang="en-US" dirty="0" err="1" smtClean="0"/>
              <a:t>nanites</a:t>
            </a:r>
            <a:r>
              <a:rPr lang="en-US" dirty="0" smtClean="0"/>
              <a:t> needed</a:t>
            </a:r>
            <a:r>
              <a:rPr lang="en-US" baseline="0" dirty="0" smtClean="0"/>
              <a:t> a way to communicate, so they aggregated within data. A private cloud of sorts.</a:t>
            </a:r>
          </a:p>
          <a:p>
            <a:endParaRPr lang="en-US" baseline="0" dirty="0" smtClean="0"/>
          </a:p>
          <a:p>
            <a:r>
              <a:rPr lang="en-US" baseline="0" dirty="0" smtClean="0"/>
              <a:t>This is the future. Devices talking with each other directly, as well as communicating externally in an organized fashion.</a:t>
            </a:r>
          </a:p>
          <a:p>
            <a:endParaRPr lang="en-US" baseline="0" dirty="0" smtClean="0"/>
          </a:p>
          <a:p>
            <a:r>
              <a:rPr lang="en-US" baseline="0" dirty="0" smtClean="0"/>
              <a:t>Appliances talking together deciding when to run to save money</a:t>
            </a:r>
          </a:p>
          <a:p>
            <a:r>
              <a:rPr lang="en-US" baseline="0" dirty="0" smtClean="0"/>
              <a:t>Fire alarms working together to save lives</a:t>
            </a:r>
          </a:p>
          <a:p>
            <a:r>
              <a:rPr lang="en-US" baseline="0" dirty="0" smtClean="0"/>
              <a:t>Businesses coordinating production hours to avoid power brownouts</a:t>
            </a:r>
          </a:p>
          <a:p>
            <a:r>
              <a:rPr lang="en-US" baseline="0" dirty="0" smtClean="0"/>
              <a:t>Manufacturing plant equipment coordinating order production</a:t>
            </a:r>
          </a:p>
          <a:p>
            <a:r>
              <a:rPr lang="en-US" baseline="0" dirty="0" smtClean="0"/>
              <a:t>Traffic cameras warning drivers about delays via GPS and billboards</a:t>
            </a:r>
          </a:p>
          <a:p>
            <a:r>
              <a:rPr lang="en-US" baseline="0" dirty="0" smtClean="0"/>
              <a:t>Doctors can view my historical medical stats while I’m on my way</a:t>
            </a:r>
          </a:p>
        </p:txBody>
      </p:sp>
      <p:sp>
        <p:nvSpPr>
          <p:cNvPr id="4" name="Slide Number Placeholder 3"/>
          <p:cNvSpPr>
            <a:spLocks noGrp="1"/>
          </p:cNvSpPr>
          <p:nvPr>
            <p:ph type="sldNum" sz="quarter" idx="10"/>
          </p:nvPr>
        </p:nvSpPr>
        <p:spPr/>
        <p:txBody>
          <a:bodyPr/>
          <a:lstStyle/>
          <a:p>
            <a:fld id="{716ADE6C-1B6B-435D-8521-5097B11251C3}" type="slidenum">
              <a:rPr lang="en-AU" smtClean="0"/>
              <a:t>51</a:t>
            </a:fld>
            <a:endParaRPr lang="en-AU"/>
          </a:p>
        </p:txBody>
      </p:sp>
    </p:spTree>
    <p:extLst>
      <p:ext uri="{BB962C8B-B14F-4D97-AF65-F5344CB8AC3E}">
        <p14:creationId xmlns:p14="http://schemas.microsoft.com/office/powerpoint/2010/main" val="3454841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a:t>
            </a:fld>
            <a:endParaRPr lang="en-AU"/>
          </a:p>
        </p:txBody>
      </p:sp>
    </p:spTree>
    <p:extLst>
      <p:ext uri="{BB962C8B-B14F-4D97-AF65-F5344CB8AC3E}">
        <p14:creationId xmlns:p14="http://schemas.microsoft.com/office/powerpoint/2010/main" val="8055571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52</a:t>
            </a:fld>
            <a:endParaRPr lang="en-AU"/>
          </a:p>
        </p:txBody>
      </p:sp>
    </p:spTree>
    <p:extLst>
      <p:ext uri="{BB962C8B-B14F-4D97-AF65-F5344CB8AC3E}">
        <p14:creationId xmlns:p14="http://schemas.microsoft.com/office/powerpoint/2010/main" val="25301977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hear people tell me that IoT isn’t anything new.</a:t>
            </a:r>
          </a:p>
          <a:p>
            <a:endParaRPr lang="en-US" dirty="0" smtClean="0"/>
          </a:p>
          <a:p>
            <a:r>
              <a:rPr lang="en-US" dirty="0" smtClean="0"/>
              <a:t>So why</a:t>
            </a:r>
            <a:r>
              <a:rPr lang="en-US" baseline="0" dirty="0" smtClean="0"/>
              <a:t> not?</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5</a:t>
            </a:fld>
            <a:endParaRPr lang="en-AU"/>
          </a:p>
        </p:txBody>
      </p:sp>
    </p:spTree>
    <p:extLst>
      <p:ext uri="{BB962C8B-B14F-4D97-AF65-F5344CB8AC3E}">
        <p14:creationId xmlns:p14="http://schemas.microsoft.com/office/powerpoint/2010/main" val="4817846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cause it’s a pain</a:t>
            </a:r>
            <a:r>
              <a:rPr lang="en-US" baseline="0" dirty="0" smtClean="0"/>
              <a:t> in the ass</a:t>
            </a:r>
          </a:p>
          <a:p>
            <a:endParaRPr lang="en-US" baseline="0" dirty="0" smtClean="0"/>
          </a:p>
          <a:p>
            <a:r>
              <a:rPr lang="en-US" baseline="0" dirty="0" smtClean="0"/>
              <a:t>Things don’t work together, and everyone is cookie licking</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6</a:t>
            </a:fld>
            <a:endParaRPr lang="en-AU"/>
          </a:p>
        </p:txBody>
      </p:sp>
    </p:spTree>
    <p:extLst>
      <p:ext uri="{BB962C8B-B14F-4D97-AF65-F5344CB8AC3E}">
        <p14:creationId xmlns:p14="http://schemas.microsoft.com/office/powerpoint/2010/main" val="3107905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help large ISV’s (independent</a:t>
            </a:r>
            <a:r>
              <a:rPr lang="en-US" baseline="0" dirty="0" smtClean="0"/>
              <a:t> software vendors)</a:t>
            </a:r>
            <a:r>
              <a:rPr lang="en-US" dirty="0" smtClean="0"/>
              <a:t> build or move</a:t>
            </a:r>
            <a:r>
              <a:rPr lang="en-US" baseline="0" dirty="0" smtClean="0"/>
              <a:t> applications to Microsoft Azure.</a:t>
            </a:r>
            <a:endParaRPr lang="en-US" dirty="0" smtClean="0"/>
          </a:p>
        </p:txBody>
      </p:sp>
      <p:sp>
        <p:nvSpPr>
          <p:cNvPr id="4" name="Slide Number Placeholder 3"/>
          <p:cNvSpPr>
            <a:spLocks noGrp="1"/>
          </p:cNvSpPr>
          <p:nvPr>
            <p:ph type="sldNum" sz="quarter" idx="10"/>
          </p:nvPr>
        </p:nvSpPr>
        <p:spPr/>
        <p:txBody>
          <a:bodyPr/>
          <a:lstStyle/>
          <a:p>
            <a:fld id="{716ADE6C-1B6B-435D-8521-5097B11251C3}" type="slidenum">
              <a:rPr lang="en-AU" smtClean="0"/>
              <a:t>7</a:t>
            </a:fld>
            <a:endParaRPr lang="en-AU"/>
          </a:p>
        </p:txBody>
      </p:sp>
    </p:spTree>
    <p:extLst>
      <p:ext uri="{BB962C8B-B14F-4D97-AF65-F5344CB8AC3E}">
        <p14:creationId xmlns:p14="http://schemas.microsoft.com/office/powerpoint/2010/main" val="2175092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oT. What a mess.</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Gartner says</a:t>
            </a:r>
            <a:r>
              <a:rPr lang="en-US" baseline="0" dirty="0" smtClean="0"/>
              <a:t> that within 6 years, there will be 26 billion “things” online. It won’t take long before there are more IoT devices than comput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Gartner has the most conservative estimat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We need to figure this out.</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8</a:t>
            </a:fld>
            <a:endParaRPr lang="en-AU"/>
          </a:p>
        </p:txBody>
      </p:sp>
    </p:spTree>
    <p:extLst>
      <p:ext uri="{BB962C8B-B14F-4D97-AF65-F5344CB8AC3E}">
        <p14:creationId xmlns:p14="http://schemas.microsoft.com/office/powerpoint/2010/main" val="1427621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artner hype</a:t>
            </a:r>
            <a:r>
              <a:rPr lang="en-US" baseline="0" dirty="0" smtClean="0"/>
              <a:t> curve</a:t>
            </a:r>
            <a:endParaRPr lang="en-US" dirty="0" smtClean="0"/>
          </a:p>
          <a:p>
            <a:endParaRPr lang="en-US" dirty="0" smtClean="0"/>
          </a:p>
          <a:p>
            <a:r>
              <a:rPr lang="en-US" dirty="0" smtClean="0"/>
              <a:t>Yes,</a:t>
            </a:r>
            <a:r>
              <a:rPr lang="en-US" baseline="0" dirty="0" smtClean="0"/>
              <a:t> “IoT” is a buzzword.</a:t>
            </a:r>
          </a:p>
          <a:p>
            <a:r>
              <a:rPr lang="en-US" baseline="0" dirty="0" smtClean="0"/>
              <a:t>No, that doesn’t make it meaningless.</a:t>
            </a:r>
          </a:p>
          <a:p>
            <a:r>
              <a:rPr lang="en-US" baseline="0" dirty="0" smtClean="0"/>
              <a:t>Yes, it will be important. VERY important.</a:t>
            </a:r>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10</a:t>
            </a:fld>
            <a:endParaRPr lang="en-AU"/>
          </a:p>
        </p:txBody>
      </p:sp>
    </p:spTree>
    <p:extLst>
      <p:ext uri="{BB962C8B-B14F-4D97-AF65-F5344CB8AC3E}">
        <p14:creationId xmlns:p14="http://schemas.microsoft.com/office/powerpoint/2010/main" val="5427833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4.emf"/><Relationship Id="rId5" Type="http://schemas.openxmlformats.org/officeDocument/2006/relationships/oleObject" Target="../embeddings/oleObject1.bin"/><Relationship Id="rId4" Type="http://schemas.openxmlformats.org/officeDocument/2006/relationships/image" Target="../media/image25.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7.xml"/><Relationship Id="rId5" Type="http://schemas.openxmlformats.org/officeDocument/2006/relationships/image" Target="../media/image19.png"/><Relationship Id="rId4" Type="http://schemas.microsoft.com/office/2007/relationships/hdphoto" Target="../media/hdphoto1.wdp"/></Relationships>
</file>

<file path=ppt/slideLayouts/_rels/slideLayout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38221353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49816" y="471123"/>
            <a:ext cx="3693023" cy="791209"/>
          </a:xfrm>
          <a:prstGeom prst="rect">
            <a:avLst/>
          </a:prstGeom>
        </p:spPr>
      </p:pic>
    </p:spTree>
    <p:extLst>
      <p:ext uri="{BB962C8B-B14F-4D97-AF65-F5344CB8AC3E}">
        <p14:creationId xmlns:p14="http://schemas.microsoft.com/office/powerpoint/2010/main" val="4082414648"/>
      </p:ext>
    </p:extLst>
  </p:cSld>
  <p:clrMapOvr>
    <a:masterClrMapping/>
  </p:clrMapOvr>
  <p:transition spd="slow">
    <p:push/>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16769494"/>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5889985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57926810"/>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7617594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6917711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08634304"/>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44103218"/>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56987685"/>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76844867"/>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3768349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3381" tIns="89614" rIns="143381" bIns="89614" anchor="t" anchorCtr="0"/>
          <a:lstStyle>
            <a:lvl1pPr>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49816" y="471123"/>
            <a:ext cx="2507472" cy="537212"/>
          </a:xfrm>
          <a:prstGeom prst="rect">
            <a:avLst/>
          </a:prstGeom>
        </p:spPr>
      </p:pic>
      <p:sp>
        <p:nvSpPr>
          <p:cNvPr id="5" name="Text Placeholder 4"/>
          <p:cNvSpPr>
            <a:spLocks noGrp="1"/>
          </p:cNvSpPr>
          <p:nvPr>
            <p:ph type="body" sz="quarter" idx="12" hasCustomPrompt="1"/>
          </p:nvPr>
        </p:nvSpPr>
        <p:spPr>
          <a:xfrm>
            <a:off x="269305" y="3878574"/>
            <a:ext cx="8964186" cy="1792326"/>
          </a:xfrm>
          <a:noFill/>
        </p:spPr>
        <p:txBody>
          <a:bodyPr lIns="143381" tIns="107536" rIns="143381" bIns="107536">
            <a:noAutofit/>
          </a:bodyPr>
          <a:lstStyle>
            <a:lvl1pPr marL="0" indent="0">
              <a:spcBef>
                <a:spcPts val="0"/>
              </a:spcBef>
              <a:buNone/>
              <a:defRPr sz="3500"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919482671"/>
      </p:ext>
    </p:extLst>
  </p:cSld>
  <p:clrMapOvr>
    <a:masterClrMapping/>
  </p:clrMapOvr>
  <p:transition spd="slow">
    <p:push/>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1819706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816755"/>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9364153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84374671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01215252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45559710"/>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0233803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06941214"/>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2672405"/>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499033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16" name="Rectangle 15"/>
          <p:cNvSpPr/>
          <p:nvPr userDrawn="1"/>
        </p:nvSpPr>
        <p:spPr bwMode="auto">
          <a:xfrm>
            <a:off x="269239" y="2084172"/>
            <a:ext cx="8964248"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2" y="2081647"/>
            <a:ext cx="8964185" cy="1795633"/>
          </a:xfrm>
          <a:noFill/>
        </p:spPr>
        <p:txBody>
          <a:bodyPr lIns="143381" tIns="89614" rIns="143381" bIns="89614" anchor="t" anchorCtr="0"/>
          <a:lstStyle>
            <a:lvl1pPr>
              <a:defRPr sz="5900" spc="-98" baseline="0">
                <a:gradFill>
                  <a:gsLst>
                    <a:gs pos="5833">
                      <a:schemeClr val="tx1"/>
                    </a:gs>
                    <a:gs pos="18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7279"/>
            <a:ext cx="8964185" cy="1793105"/>
          </a:xfrm>
          <a:noFill/>
        </p:spPr>
        <p:txBody>
          <a:bodyPr lIns="143381" tIns="107536" rIns="143381" bIns="10753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49815" y="471123"/>
            <a:ext cx="2507472" cy="537212"/>
          </a:xfrm>
          <a:prstGeom prst="rect">
            <a:avLst/>
          </a:prstGeom>
        </p:spPr>
      </p:pic>
    </p:spTree>
    <p:extLst>
      <p:ext uri="{BB962C8B-B14F-4D97-AF65-F5344CB8AC3E}">
        <p14:creationId xmlns:p14="http://schemas.microsoft.com/office/powerpoint/2010/main" val="220487043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hemenfolie_2.1">
    <p:spTree>
      <p:nvGrpSpPr>
        <p:cNvPr id="1" name=""/>
        <p:cNvGrpSpPr/>
        <p:nvPr/>
      </p:nvGrpSpPr>
      <p:grpSpPr>
        <a:xfrm>
          <a:off x="0" y="0"/>
          <a:ext cx="0" cy="0"/>
          <a:chOff x="0" y="0"/>
          <a:chExt cx="0" cy="0"/>
        </a:xfrm>
      </p:grpSpPr>
      <p:sp>
        <p:nvSpPr>
          <p:cNvPr id="12" name="Text Placeholder 5"/>
          <p:cNvSpPr>
            <a:spLocks noGrp="1"/>
          </p:cNvSpPr>
          <p:nvPr>
            <p:ph type="body" sz="quarter" idx="10" hasCustomPrompt="1"/>
          </p:nvPr>
        </p:nvSpPr>
        <p:spPr>
          <a:xfrm>
            <a:off x="1014946" y="1988378"/>
            <a:ext cx="10174287" cy="3360920"/>
          </a:xfrm>
          <a:prstGeom prst="rect">
            <a:avLst/>
          </a:prstGeom>
        </p:spPr>
        <p:txBody>
          <a:bodyPr wrap="square" lIns="0" tIns="0" rIns="0" bIns="0">
            <a:spAutoFit/>
          </a:bodyPr>
          <a:lstStyle>
            <a:lvl1pPr marL="0" indent="0" algn="l">
              <a:buNone/>
              <a:defRPr sz="3200">
                <a:solidFill>
                  <a:srgbClr val="6A1980"/>
                </a:solidFill>
                <a:latin typeface="Segoe UI Light"/>
                <a:cs typeface="Segoe UI Light"/>
              </a:defRPr>
            </a:lvl1pPr>
            <a:lvl2pPr marL="0" marR="0" indent="0" algn="l" defTabSz="932563" rtl="0" eaLnBrk="1" fontAlgn="auto" latinLnBrk="0" hangingPunct="1">
              <a:lnSpc>
                <a:spcPct val="90000"/>
              </a:lnSpc>
              <a:spcBef>
                <a:spcPct val="20000"/>
              </a:spcBef>
              <a:spcAft>
                <a:spcPts val="0"/>
              </a:spcAft>
              <a:buClrTx/>
              <a:buSzPct val="90000"/>
              <a:buFont typeface="Arial"/>
              <a:buNone/>
              <a:tabLst/>
              <a:defRPr lang="en-US" sz="2400" kern="1200" dirty="0" smtClean="0">
                <a:solidFill>
                  <a:srgbClr val="4E4E4E"/>
                </a:solidFill>
                <a:latin typeface="Segoe UI Light"/>
                <a:ea typeface="+mn-ea"/>
                <a:cs typeface="Segoe UI Light"/>
              </a:defRPr>
            </a:lvl2pPr>
            <a:lvl3pPr marL="228556" marR="0" indent="0" algn="l" defTabSz="932563" rtl="0" eaLnBrk="1" fontAlgn="auto" latinLnBrk="0" hangingPunct="1">
              <a:lnSpc>
                <a:spcPct val="90000"/>
              </a:lnSpc>
              <a:spcBef>
                <a:spcPct val="20000"/>
              </a:spcBef>
              <a:spcAft>
                <a:spcPts val="0"/>
              </a:spcAft>
              <a:buClrTx/>
              <a:buSzPct val="90000"/>
              <a:buNone/>
              <a:tabLst/>
              <a:defRPr lang="en-US" sz="2000" kern="1200" dirty="0" smtClean="0">
                <a:solidFill>
                  <a:srgbClr val="4E4E4E"/>
                </a:solidFill>
                <a:latin typeface="+mn-lt"/>
                <a:ea typeface="+mn-ea"/>
                <a:cs typeface="+mn-cs"/>
              </a:defRPr>
            </a:lvl3pPr>
            <a:lvl4pPr marL="457112" marR="0" indent="0" algn="l" defTabSz="932563" rtl="0" eaLnBrk="1" fontAlgn="auto" latinLnBrk="0" hangingPunct="1">
              <a:lnSpc>
                <a:spcPct val="90000"/>
              </a:lnSpc>
              <a:spcBef>
                <a:spcPct val="20000"/>
              </a:spcBef>
              <a:spcAft>
                <a:spcPts val="0"/>
              </a:spcAft>
              <a:buClrTx/>
              <a:buSzPct val="90000"/>
              <a:buNone/>
              <a:tabLst/>
              <a:defRPr lang="en-US" sz="1800" kern="1200" dirty="0" smtClean="0">
                <a:solidFill>
                  <a:srgbClr val="4E4E4E"/>
                </a:solidFill>
                <a:latin typeface="+mn-lt"/>
                <a:ea typeface="+mn-ea"/>
                <a:cs typeface="+mn-cs"/>
              </a:defRPr>
            </a:lvl4pPr>
            <a:lvl5pPr marL="685668" marR="0" indent="0" algn="l" defTabSz="932563" rtl="0" eaLnBrk="1" fontAlgn="auto" latinLnBrk="0" hangingPunct="1">
              <a:lnSpc>
                <a:spcPct val="90000"/>
              </a:lnSpc>
              <a:spcBef>
                <a:spcPct val="20000"/>
              </a:spcBef>
              <a:spcAft>
                <a:spcPts val="0"/>
              </a:spcAft>
              <a:buClrTx/>
              <a:buSzPct val="90000"/>
              <a:buNone/>
              <a:tabLst/>
              <a:defRPr lang="en-US" sz="1800" kern="1200" dirty="0">
                <a:solidFill>
                  <a:srgbClr val="4E4E4E"/>
                </a:solidFill>
                <a:latin typeface="+mn-lt"/>
                <a:ea typeface="+mn-ea"/>
                <a:cs typeface="+mn-cs"/>
              </a:defRPr>
            </a:lvl5pPr>
          </a:lstStyle>
          <a:p>
            <a:r>
              <a:rPr lang="en-US" dirty="0" smtClean="0"/>
              <a:t>Stet </a:t>
            </a:r>
            <a:r>
              <a:rPr lang="en-US" dirty="0" err="1" smtClean="0"/>
              <a:t>clita</a:t>
            </a:r>
            <a:r>
              <a:rPr lang="en-US" dirty="0" smtClean="0"/>
              <a:t> </a:t>
            </a:r>
            <a:r>
              <a:rPr lang="en-US" dirty="0" err="1" smtClean="0"/>
              <a:t>kasd</a:t>
            </a:r>
            <a:r>
              <a:rPr lang="en-US" dirty="0" smtClean="0"/>
              <a:t>, no sea </a:t>
            </a:r>
            <a:r>
              <a:rPr lang="en-US" dirty="0" err="1" smtClean="0"/>
              <a:t>takimata</a:t>
            </a:r>
            <a:r>
              <a:rPr lang="en-US" dirty="0" smtClean="0"/>
              <a:t> </a:t>
            </a:r>
            <a:r>
              <a:rPr lang="en-US" dirty="0" err="1" smtClean="0"/>
              <a:t>sanctus</a:t>
            </a:r>
            <a:r>
              <a:rPr lang="en-US" dirty="0" smtClean="0"/>
              <a:t> </a:t>
            </a:r>
            <a:r>
              <a:rPr lang="en-US" dirty="0" err="1" smtClean="0"/>
              <a:t>es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a:t>
            </a:r>
            <a:endParaRPr lang="de-DE" dirty="0" smtClean="0"/>
          </a:p>
          <a:p>
            <a:pPr marL="0" marR="0" lvl="1" indent="0" algn="l" defTabSz="932563" rtl="0" eaLnBrk="1" fontAlgn="auto" latinLnBrk="0" hangingPunct="1">
              <a:lnSpc>
                <a:spcPct val="90000"/>
              </a:lnSpc>
              <a:spcBef>
                <a:spcPct val="20000"/>
              </a:spcBef>
              <a:spcAft>
                <a:spcPts val="0"/>
              </a:spcAft>
              <a:buClrTx/>
              <a:buSzPct val="90000"/>
              <a:buFont typeface="Arial"/>
              <a:buNone/>
              <a:tabLst/>
              <a:defRPr/>
            </a:pPr>
            <a:r>
              <a:rPr lang="en-US" dirty="0" smtClean="0"/>
              <a:t>Stet </a:t>
            </a:r>
            <a:r>
              <a:rPr lang="en-US" dirty="0" err="1" smtClean="0"/>
              <a:t>clita</a:t>
            </a:r>
            <a:r>
              <a:rPr lang="en-US" dirty="0" smtClean="0"/>
              <a:t> </a:t>
            </a:r>
            <a:r>
              <a:rPr lang="en-US" dirty="0" err="1" smtClean="0"/>
              <a:t>kasd</a:t>
            </a:r>
            <a:r>
              <a:rPr lang="en-US" dirty="0" smtClean="0"/>
              <a:t> </a:t>
            </a:r>
            <a:r>
              <a:rPr lang="en-US" dirty="0" err="1" smtClean="0"/>
              <a:t>gubergren</a:t>
            </a:r>
            <a:r>
              <a:rPr lang="en-US" dirty="0" smtClean="0"/>
              <a:t>, no sea </a:t>
            </a:r>
            <a:r>
              <a:rPr lang="en-US" dirty="0" err="1" smtClean="0"/>
              <a:t>takimata</a:t>
            </a:r>
            <a:r>
              <a:rPr lang="en-US" dirty="0" smtClean="0"/>
              <a:t> </a:t>
            </a:r>
            <a:r>
              <a:rPr lang="en-US" dirty="0" err="1" smtClean="0"/>
              <a:t>sanctus</a:t>
            </a:r>
            <a:r>
              <a:rPr lang="en-US" dirty="0" smtClean="0"/>
              <a:t> </a:t>
            </a:r>
            <a:r>
              <a:rPr lang="en-US" dirty="0" err="1" smtClean="0"/>
              <a:t>es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Stet </a:t>
            </a:r>
            <a:r>
              <a:rPr lang="en-US" dirty="0" err="1" smtClean="0"/>
              <a:t>clita</a:t>
            </a:r>
            <a:r>
              <a:rPr lang="en-US" dirty="0" smtClean="0"/>
              <a:t> </a:t>
            </a:r>
            <a:r>
              <a:rPr lang="en-US" dirty="0" err="1" smtClean="0"/>
              <a:t>kasd</a:t>
            </a:r>
            <a:r>
              <a:rPr lang="en-US" dirty="0" smtClean="0"/>
              <a:t> </a:t>
            </a:r>
            <a:r>
              <a:rPr lang="en-US" dirty="0" err="1" smtClean="0"/>
              <a:t>gubergren</a:t>
            </a:r>
            <a:r>
              <a:rPr lang="en-US" dirty="0" smtClean="0"/>
              <a:t>, no sea </a:t>
            </a:r>
            <a:r>
              <a:rPr lang="en-US" dirty="0" err="1" smtClean="0"/>
              <a:t>takimata</a:t>
            </a:r>
            <a:r>
              <a:rPr lang="en-US" dirty="0" smtClean="0"/>
              <a:t> </a:t>
            </a:r>
            <a:r>
              <a:rPr lang="en-US" dirty="0" err="1" smtClean="0"/>
              <a:t>sanctus</a:t>
            </a:r>
            <a:r>
              <a:rPr lang="en-US" dirty="0" smtClean="0"/>
              <a:t> </a:t>
            </a:r>
            <a:r>
              <a:rPr lang="en-US" dirty="0" err="1" smtClean="0"/>
              <a:t>es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Stet </a:t>
            </a:r>
            <a:r>
              <a:rPr lang="en-US" dirty="0" err="1" smtClean="0"/>
              <a:t>clita</a:t>
            </a:r>
            <a:r>
              <a:rPr lang="en-US" dirty="0" smtClean="0"/>
              <a:t> </a:t>
            </a:r>
            <a:r>
              <a:rPr lang="en-US" dirty="0" err="1" smtClean="0"/>
              <a:t>kasd</a:t>
            </a:r>
            <a:r>
              <a:rPr lang="en-US" dirty="0" smtClean="0"/>
              <a:t> </a:t>
            </a:r>
            <a:r>
              <a:rPr lang="en-US" dirty="0" err="1" smtClean="0"/>
              <a:t>gubergren</a:t>
            </a:r>
            <a:r>
              <a:rPr lang="en-US" dirty="0" smtClean="0"/>
              <a:t>, no sea </a:t>
            </a:r>
            <a:r>
              <a:rPr lang="en-US" dirty="0" err="1" smtClean="0"/>
              <a:t>takimata</a:t>
            </a:r>
            <a:r>
              <a:rPr lang="en-US" dirty="0" smtClean="0"/>
              <a:t> </a:t>
            </a:r>
            <a:r>
              <a:rPr lang="en-US" dirty="0" err="1" smtClean="0"/>
              <a:t>sanctus</a:t>
            </a:r>
            <a:r>
              <a:rPr lang="en-US" dirty="0" smtClean="0"/>
              <a:t> </a:t>
            </a:r>
            <a:r>
              <a:rPr lang="en-US" dirty="0" err="1" smtClean="0"/>
              <a:t>es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sit </a:t>
            </a:r>
            <a:r>
              <a:rPr lang="en-US" dirty="0" err="1" smtClean="0"/>
              <a:t>amet</a:t>
            </a:r>
            <a:r>
              <a:rPr lang="en-US" dirty="0" smtClean="0"/>
              <a:t>. Stet </a:t>
            </a:r>
            <a:r>
              <a:rPr lang="en-US" dirty="0" err="1" smtClean="0"/>
              <a:t>clita</a:t>
            </a:r>
            <a:r>
              <a:rPr lang="en-US" dirty="0" smtClean="0"/>
              <a:t> </a:t>
            </a:r>
            <a:r>
              <a:rPr lang="en-US" dirty="0" err="1" smtClean="0"/>
              <a:t>kasd</a:t>
            </a:r>
            <a:r>
              <a:rPr lang="en-US" dirty="0" smtClean="0"/>
              <a:t> </a:t>
            </a:r>
            <a:r>
              <a:rPr lang="en-US" dirty="0" err="1" smtClean="0"/>
              <a:t>gubergren</a:t>
            </a:r>
            <a:r>
              <a:rPr lang="en-US" dirty="0" smtClean="0"/>
              <a:t>, no sea </a:t>
            </a:r>
            <a:r>
              <a:rPr lang="en-US" dirty="0" err="1" smtClean="0"/>
              <a:t>takimata</a:t>
            </a:r>
            <a:r>
              <a:rPr lang="en-US" dirty="0" smtClean="0"/>
              <a:t> </a:t>
            </a:r>
            <a:r>
              <a:rPr lang="en-US" dirty="0" err="1" smtClean="0"/>
              <a:t>sanctus</a:t>
            </a:r>
            <a:r>
              <a:rPr lang="en-US" dirty="0" smtClean="0"/>
              <a:t> </a:t>
            </a:r>
            <a:r>
              <a:rPr lang="en-US" dirty="0" err="1" smtClean="0"/>
              <a:t>es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Stet </a:t>
            </a:r>
            <a:r>
              <a:rPr lang="en-US" dirty="0" err="1" smtClean="0"/>
              <a:t>clita</a:t>
            </a:r>
            <a:r>
              <a:rPr lang="en-US" dirty="0" smtClean="0"/>
              <a:t> </a:t>
            </a:r>
            <a:r>
              <a:rPr lang="en-US" dirty="0" err="1" smtClean="0"/>
              <a:t>kasd</a:t>
            </a:r>
            <a:r>
              <a:rPr lang="en-US" dirty="0" smtClean="0"/>
              <a:t> </a:t>
            </a:r>
            <a:r>
              <a:rPr lang="en-US" dirty="0" err="1" smtClean="0"/>
              <a:t>gubergren</a:t>
            </a:r>
            <a:r>
              <a:rPr lang="en-US" dirty="0" smtClean="0"/>
              <a:t>, no sea </a:t>
            </a:r>
            <a:r>
              <a:rPr lang="en-US" dirty="0" err="1" smtClean="0"/>
              <a:t>takimata</a:t>
            </a:r>
            <a:r>
              <a:rPr lang="en-US" dirty="0" smtClean="0"/>
              <a:t> </a:t>
            </a:r>
            <a:r>
              <a:rPr lang="en-US" dirty="0" err="1" smtClean="0"/>
              <a:t>sanctus</a:t>
            </a:r>
            <a:r>
              <a:rPr lang="en-US" dirty="0" smtClean="0"/>
              <a:t> </a:t>
            </a:r>
            <a:r>
              <a:rPr lang="en-US" dirty="0" err="1" smtClean="0"/>
              <a:t>es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p>
          <a:p>
            <a:pPr lvl="1"/>
            <a:endParaRPr lang="en-US" dirty="0" smtClean="0"/>
          </a:p>
        </p:txBody>
      </p:sp>
      <p:sp>
        <p:nvSpPr>
          <p:cNvPr id="5" name="Title 1"/>
          <p:cNvSpPr>
            <a:spLocks noGrp="1"/>
          </p:cNvSpPr>
          <p:nvPr>
            <p:ph type="title"/>
          </p:nvPr>
        </p:nvSpPr>
        <p:spPr>
          <a:xfrm>
            <a:off x="1008064" y="908720"/>
            <a:ext cx="10174287" cy="677108"/>
          </a:xfrm>
          <a:prstGeom prst="rect">
            <a:avLst/>
          </a:prstGeom>
        </p:spPr>
        <p:txBody>
          <a:bodyPr wrap="square" lIns="0" tIns="0" rIns="0" bIns="0">
            <a:spAutoFit/>
          </a:bodyPr>
          <a:lstStyle>
            <a:lvl1pPr algn="l">
              <a:lnSpc>
                <a:spcPct val="90000"/>
              </a:lnSpc>
              <a:defRPr sz="4800">
                <a:solidFill>
                  <a:srgbClr val="4E4E4E"/>
                </a:solidFill>
                <a:latin typeface="Segoe UI Light"/>
                <a:cs typeface="Segoe UI Ligh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92360922"/>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918498546"/>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2 for internal audiences">
    <p:spTree>
      <p:nvGrpSpPr>
        <p:cNvPr id="1" name=""/>
        <p:cNvGrpSpPr/>
        <p:nvPr/>
      </p:nvGrpSpPr>
      <p:grpSpPr>
        <a:xfrm>
          <a:off x="0" y="0"/>
          <a:ext cx="0" cy="0"/>
          <a:chOff x="0" y="0"/>
          <a:chExt cx="0" cy="0"/>
        </a:xfrm>
      </p:grpSpPr>
      <p:sp>
        <p:nvSpPr>
          <p:cNvPr id="18" name="Rectangle 17"/>
          <p:cNvSpPr/>
          <p:nvPr/>
        </p:nvSpPr>
        <p:spPr bwMode="auto">
          <a:xfrm>
            <a:off x="269240" y="2084172"/>
            <a:ext cx="8964248" cy="3586208"/>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2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796" y="2084173"/>
            <a:ext cx="8962692" cy="1793104"/>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7201" y="470413"/>
            <a:ext cx="1522404" cy="326166"/>
          </a:xfrm>
          <a:prstGeom prst="rect">
            <a:avLst/>
          </a:prstGeom>
        </p:spPr>
      </p:pic>
      <p:sp>
        <p:nvSpPr>
          <p:cNvPr id="5" name="Text Placeholder 4"/>
          <p:cNvSpPr>
            <a:spLocks noGrp="1"/>
          </p:cNvSpPr>
          <p:nvPr>
            <p:ph type="body" sz="quarter" idx="12" hasCustomPrompt="1"/>
          </p:nvPr>
        </p:nvSpPr>
        <p:spPr>
          <a:xfrm>
            <a:off x="269240" y="3877272"/>
            <a:ext cx="8964248" cy="1792326"/>
          </a:xfrm>
          <a:noFill/>
        </p:spPr>
        <p:txBody>
          <a:bodyPr lIns="146304" tIns="109728" rIns="146304" bIns="109728">
            <a:noAutofit/>
          </a:bodyPr>
          <a:lstStyle>
            <a:lvl1pPr marL="0" indent="0">
              <a:spcBef>
                <a:spcPts val="0"/>
              </a:spcBef>
              <a:buNone/>
              <a:defRPr sz="3529" spc="0" baseline="0">
                <a:gradFill>
                  <a:gsLst>
                    <a:gs pos="4583">
                      <a:srgbClr val="FFFFFF"/>
                    </a:gs>
                    <a:gs pos="84000">
                      <a:srgbClr val="FFFFFF"/>
                    </a:gs>
                  </a:gsLst>
                  <a:lin ang="5400000" scaled="0"/>
                </a:gradFill>
                <a:latin typeface="+mj-lt"/>
              </a:defRPr>
            </a:lvl1pPr>
          </a:lstStyle>
          <a:p>
            <a:pPr lvl="0"/>
            <a:r>
              <a:rPr lang="en-US" dirty="0" smtClean="0"/>
              <a:t>Speaker Name</a:t>
            </a:r>
          </a:p>
        </p:txBody>
      </p:sp>
      <p:grpSp>
        <p:nvGrpSpPr>
          <p:cNvPr id="14" name="Group 13"/>
          <p:cNvGrpSpPr/>
          <p:nvPr/>
        </p:nvGrpSpPr>
        <p:grpSpPr>
          <a:xfrm>
            <a:off x="2" y="6447969"/>
            <a:ext cx="12191999" cy="410030"/>
            <a:chOff x="274603" y="6576332"/>
            <a:chExt cx="11886441" cy="274320"/>
          </a:xfrm>
        </p:grpSpPr>
        <p:sp>
          <p:nvSpPr>
            <p:cNvPr id="15"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00" spc="0">
                  <a:solidFill>
                    <a:srgbClr val="FFFFFF"/>
                  </a:solidFill>
                </a:rPr>
                <a:t>Technical Evangelism &amp; Development Team</a:t>
              </a:r>
            </a:p>
          </p:txBody>
        </p:sp>
        <p:sp>
          <p:nvSpPr>
            <p:cNvPr id="16"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8" spc="0">
                  <a:solidFill>
                    <a:srgbClr val="FFFFFF"/>
                  </a:solidFill>
                </a:rPr>
                <a:t> DX</a:t>
              </a:r>
            </a:p>
          </p:txBody>
        </p:sp>
      </p:grpSp>
    </p:spTree>
    <p:extLst>
      <p:ext uri="{BB962C8B-B14F-4D97-AF65-F5344CB8AC3E}">
        <p14:creationId xmlns:p14="http://schemas.microsoft.com/office/powerpoint/2010/main" val="92933997"/>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 y="1"/>
            <a:ext cx="12191999" cy="899665"/>
          </a:xfrm>
          <a:solidFill>
            <a:srgbClr val="00188F"/>
          </a:solidFill>
        </p:spPr>
        <p:txBody>
          <a:bodyPr/>
          <a:lstStyle>
            <a:lvl1pPr>
              <a:defRPr>
                <a:solidFill>
                  <a:schemeClr val="bg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7" indent="0">
              <a:buNone/>
              <a:defRPr/>
            </a:lvl3pPr>
            <a:lvl4pPr marL="448153" indent="0">
              <a:buNone/>
              <a:defRPr/>
            </a:lvl4pPr>
            <a:lvl5pPr marL="67223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3" name="Group 12"/>
          <p:cNvGrpSpPr/>
          <p:nvPr/>
        </p:nvGrpSpPr>
        <p:grpSpPr>
          <a:xfrm>
            <a:off x="269240" y="6447969"/>
            <a:ext cx="11654266" cy="268966"/>
            <a:chOff x="274603" y="6576332"/>
            <a:chExt cx="11886441" cy="274320"/>
          </a:xfrm>
        </p:grpSpPr>
        <p:sp>
          <p:nvSpPr>
            <p:cNvPr id="14"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568" spc="0">
                  <a:solidFill>
                    <a:srgbClr val="FFFFFF"/>
                  </a:solidFill>
                </a:rPr>
                <a:t>Partner Evangelism Team</a:t>
              </a:r>
            </a:p>
          </p:txBody>
        </p:sp>
        <p:sp>
          <p:nvSpPr>
            <p:cNvPr id="15"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8" spc="0">
                  <a:solidFill>
                    <a:srgbClr val="FFFFFF"/>
                  </a:solidFill>
                </a:rPr>
                <a:t> DPE</a:t>
              </a:r>
            </a:p>
          </p:txBody>
        </p:sp>
      </p:grpSp>
      <p:grpSp>
        <p:nvGrpSpPr>
          <p:cNvPr id="16" name="Group 15"/>
          <p:cNvGrpSpPr/>
          <p:nvPr/>
        </p:nvGrpSpPr>
        <p:grpSpPr>
          <a:xfrm>
            <a:off x="2" y="6447969"/>
            <a:ext cx="12191999" cy="410030"/>
            <a:chOff x="274603" y="6576332"/>
            <a:chExt cx="11886441" cy="274320"/>
          </a:xfrm>
        </p:grpSpPr>
        <p:sp>
          <p:nvSpPr>
            <p:cNvPr id="17"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67" spc="0">
                  <a:solidFill>
                    <a:srgbClr val="FFFFFF"/>
                  </a:solidFill>
                </a:rPr>
                <a:t>Technical Evangelism &amp; Development Team</a:t>
              </a:r>
            </a:p>
          </p:txBody>
        </p:sp>
        <p:sp>
          <p:nvSpPr>
            <p:cNvPr id="18"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Tree>
    <p:extLst>
      <p:ext uri="{BB962C8B-B14F-4D97-AF65-F5344CB8AC3E}">
        <p14:creationId xmlns:p14="http://schemas.microsoft.com/office/powerpoint/2010/main" val="15301795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2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7"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9"/>
            <a:ext cx="9860673"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525473582"/>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2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7"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92017083"/>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536267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cSld name="3_WALKIN - Prints in GRAYSCALE">
    <p:bg bwMode="ltGray">
      <p:bgPr>
        <a:solidFill>
          <a:schemeClr val="bg1"/>
        </a:solidFill>
        <a:effectLst/>
      </p:bgPr>
    </p:bg>
    <p:spTree>
      <p:nvGrpSpPr>
        <p:cNvPr id="1" name=""/>
        <p:cNvGrpSpPr/>
        <p:nvPr/>
      </p:nvGrpSpPr>
      <p:grpSpPr>
        <a:xfrm>
          <a:off x="0" y="0"/>
          <a:ext cx="0" cy="0"/>
          <a:chOff x="0" y="0"/>
          <a:chExt cx="0" cy="0"/>
        </a:xfrm>
      </p:grpSpPr>
      <p:sp>
        <p:nvSpPr>
          <p:cNvPr id="29" name="Rectangle 28"/>
          <p:cNvSpPr/>
          <p:nvPr/>
        </p:nvSpPr>
        <p:spPr bwMode="auto">
          <a:xfrm>
            <a:off x="7986423" y="1451431"/>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2" tIns="35252" rIns="35252" bIns="35252" numCol="1" spcCol="0" rtlCol="0" fromWordArt="0" anchor="b" anchorCtr="0" forceAA="0" compatLnSpc="1">
            <a:prstTxWarp prst="textNoShape">
              <a:avLst/>
            </a:prstTxWarp>
            <a:noAutofit/>
          </a:bodyPr>
          <a:lstStyle/>
          <a:p>
            <a:pPr defTabSz="704743" fontAlgn="base">
              <a:spcBef>
                <a:spcPct val="0"/>
              </a:spcBef>
              <a:spcAft>
                <a:spcPct val="0"/>
              </a:spcAft>
            </a:pPr>
            <a:endParaRPr lang="en-US" sz="1469"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607094" y="1451431"/>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2" tIns="35252" rIns="35252" bIns="35252" numCol="1" spcCol="0" rtlCol="0" fromWordArt="0" anchor="b" anchorCtr="0" forceAA="0" compatLnSpc="1">
            <a:prstTxWarp prst="textNoShape">
              <a:avLst/>
            </a:prstTxWarp>
            <a:noAutofit/>
          </a:bodyPr>
          <a:lstStyle/>
          <a:p>
            <a:pPr defTabSz="704743" fontAlgn="base">
              <a:spcBef>
                <a:spcPct val="0"/>
              </a:spcBef>
              <a:spcAft>
                <a:spcPct val="0"/>
              </a:spcAft>
            </a:pPr>
            <a:endParaRPr lang="en-US" sz="1469"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607095" y="3211080"/>
            <a:ext cx="3598488" cy="1421157"/>
          </a:xfrm>
          <a:prstGeom prst="rect">
            <a:avLst/>
          </a:prstGeom>
          <a:noFill/>
        </p:spPr>
        <p:txBody>
          <a:bodyPr wrap="square" lIns="75681" tIns="37840" rIns="75681" bIns="211614" rtlCol="0" anchor="b" anchorCtr="0">
            <a:spAutoFit/>
          </a:bodyPr>
          <a:lstStyle/>
          <a:p>
            <a:pPr algn="ctr" defTabSz="946097"/>
            <a:r>
              <a:rPr lang="en-US" sz="7448" spc="-116" dirty="0">
                <a:gradFill>
                  <a:gsLst>
                    <a:gs pos="26000">
                      <a:srgbClr val="FFFFFF"/>
                    </a:gs>
                    <a:gs pos="63000">
                      <a:srgbClr val="FFFFFF"/>
                    </a:gs>
                  </a:gsLst>
                  <a:lin ang="5400000" scaled="0"/>
                </a:gradFill>
                <a:latin typeface="Segoe UI Light" pitchFamily="34" charset="0"/>
              </a:rPr>
              <a:t>TED</a:t>
            </a:r>
          </a:p>
        </p:txBody>
      </p:sp>
      <p:sp>
        <p:nvSpPr>
          <p:cNvPr id="33" name="Rectangle 32"/>
          <p:cNvSpPr/>
          <p:nvPr/>
        </p:nvSpPr>
        <p:spPr bwMode="auto">
          <a:xfrm>
            <a:off x="4296759" y="3076352"/>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2" tIns="35252" rIns="35252" bIns="35252" numCol="1" spcCol="0" rtlCol="0" fromWordArt="0" anchor="b" anchorCtr="0" forceAA="0" compatLnSpc="1">
            <a:prstTxWarp prst="textNoShape">
              <a:avLst/>
            </a:prstTxWarp>
            <a:noAutofit/>
          </a:bodyPr>
          <a:lstStyle/>
          <a:p>
            <a:pPr defTabSz="704743" fontAlgn="base">
              <a:spcBef>
                <a:spcPct val="0"/>
              </a:spcBef>
              <a:spcAft>
                <a:spcPct val="0"/>
              </a:spcAft>
            </a:pPr>
            <a:endParaRPr lang="en-US" sz="1469"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15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427711" y="1841502"/>
            <a:ext cx="2715902" cy="2400663"/>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5232807" y="3282782"/>
            <a:ext cx="1741440" cy="1061377"/>
          </a:xfrm>
          <a:prstGeom prst="rect">
            <a:avLst/>
          </a:prstGeom>
          <a:noFill/>
          <a:extLst>
            <a:ext uri="{909E8E84-426E-40dd-AFC4-6F175D3DCCD1}">
              <a14:hiddenFill xmlns:a14="http://schemas.microsoft.com/office/drawing/2010/main" xmlns="">
                <a:solidFill>
                  <a:srgbClr val="FFFFFF"/>
                </a:solidFill>
              </a14:hiddenFill>
            </a:ext>
          </a:extLst>
        </p:spPr>
      </p:pic>
      <p:sp>
        <p:nvSpPr>
          <p:cNvPr id="32" name="Rectangle 31"/>
          <p:cNvSpPr/>
          <p:nvPr/>
        </p:nvSpPr>
        <p:spPr bwMode="auto">
          <a:xfrm>
            <a:off x="4296759" y="1451432"/>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2" tIns="35252" rIns="35252" bIns="35252" numCol="1" spcCol="0" rtlCol="0" fromWordArt="0" anchor="b" anchorCtr="0" forceAA="0" compatLnSpc="1">
            <a:prstTxWarp prst="textNoShape">
              <a:avLst/>
            </a:prstTxWarp>
            <a:noAutofit/>
          </a:bodyPr>
          <a:lstStyle/>
          <a:p>
            <a:pPr defTabSz="704743" fontAlgn="base">
              <a:spcBef>
                <a:spcPct val="0"/>
              </a:spcBef>
              <a:spcAft>
                <a:spcPct val="0"/>
              </a:spcAft>
            </a:pPr>
            <a:endParaRPr lang="en-US" sz="146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20"/>
          <p:cNvSpPr>
            <a:spLocks noEditPoints="1"/>
          </p:cNvSpPr>
          <p:nvPr/>
        </p:nvSpPr>
        <p:spPr bwMode="black">
          <a:xfrm>
            <a:off x="5333975" y="2082530"/>
            <a:ext cx="717407" cy="44087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0" tIns="31735" rIns="63468" bIns="31735" numCol="1" anchor="t" anchorCtr="0" compatLnSpc="1">
            <a:prstTxWarp prst="textNoShape">
              <a:avLst/>
            </a:prstTxWarp>
          </a:bodyPr>
          <a:lstStyle/>
          <a:p>
            <a:pPr algn="ctr" defTabSz="914225"/>
            <a:endParaRPr lang="en-US" sz="686" dirty="0">
              <a:gradFill>
                <a:gsLst>
                  <a:gs pos="0">
                    <a:srgbClr val="FFFFFF"/>
                  </a:gs>
                  <a:gs pos="100000">
                    <a:srgbClr val="FFFFFF"/>
                  </a:gs>
                </a:gsLst>
                <a:lin ang="5400000" scaled="0"/>
              </a:gradFill>
            </a:endParaRPr>
          </a:p>
        </p:txBody>
      </p:sp>
      <p:sp>
        <p:nvSpPr>
          <p:cNvPr id="37" name="Rounded Rectangle 6"/>
          <p:cNvSpPr/>
          <p:nvPr/>
        </p:nvSpPr>
        <p:spPr bwMode="black">
          <a:xfrm rot="16200000">
            <a:off x="4642079" y="1985185"/>
            <a:ext cx="396281" cy="63556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3" rIns="63466" bIns="31733" numCol="1" rtlCol="0" anchor="ctr" anchorCtr="0" compatLnSpc="1">
            <a:prstTxWarp prst="textNoShape">
              <a:avLst/>
            </a:prstTxWarp>
          </a:bodyPr>
          <a:lstStyle/>
          <a:p>
            <a:pPr algn="ctr" defTabSz="571088"/>
            <a:endParaRPr lang="en-US" sz="1765" spc="-95" dirty="0">
              <a:gradFill>
                <a:gsLst>
                  <a:gs pos="0">
                    <a:srgbClr val="FFFFFF"/>
                  </a:gs>
                  <a:gs pos="100000">
                    <a:srgbClr val="FFFFFF"/>
                  </a:gs>
                </a:gsLst>
                <a:lin ang="5400000" scaled="0"/>
              </a:gradFill>
              <a:latin typeface="Segoe Light" pitchFamily="34" charset="0"/>
            </a:endParaRPr>
          </a:p>
        </p:txBody>
      </p:sp>
      <p:grpSp>
        <p:nvGrpSpPr>
          <p:cNvPr id="8" name="Group 7"/>
          <p:cNvGrpSpPr/>
          <p:nvPr/>
        </p:nvGrpSpPr>
        <p:grpSpPr>
          <a:xfrm>
            <a:off x="6661757" y="2070159"/>
            <a:ext cx="1080970" cy="465617"/>
            <a:chOff x="8013498" y="3139440"/>
            <a:chExt cx="1337702" cy="651864"/>
          </a:xfrm>
        </p:grpSpPr>
        <p:grpSp>
          <p:nvGrpSpPr>
            <p:cNvPr id="7" name="Group 6"/>
            <p:cNvGrpSpPr/>
            <p:nvPr userDrawn="1"/>
          </p:nvGrpSpPr>
          <p:grpSpPr>
            <a:xfrm>
              <a:off x="8013498" y="3581400"/>
              <a:ext cx="631919" cy="209904"/>
              <a:chOff x="5584401" y="7523789"/>
              <a:chExt cx="3182937" cy="1057275"/>
            </a:xfrm>
          </p:grpSpPr>
          <p:sp>
            <p:nvSpPr>
              <p:cNvPr id="5" name="Freeform 6"/>
              <p:cNvSpPr>
                <a:spLocks noEditPoints="1"/>
              </p:cNvSpPr>
              <p:nvPr userDrawn="1"/>
            </p:nvSpPr>
            <p:spPr bwMode="auto">
              <a:xfrm>
                <a:off x="5584401" y="7523789"/>
                <a:ext cx="3182937" cy="547688"/>
              </a:xfrm>
              <a:custGeom>
                <a:avLst/>
                <a:gdLst>
                  <a:gd name="T0" fmla="*/ 831 w 849"/>
                  <a:gd name="T1" fmla="*/ 0 h 146"/>
                  <a:gd name="T2" fmla="*/ 18 w 849"/>
                  <a:gd name="T3" fmla="*/ 0 h 146"/>
                  <a:gd name="T4" fmla="*/ 0 w 849"/>
                  <a:gd name="T5" fmla="*/ 18 h 146"/>
                  <a:gd name="T6" fmla="*/ 0 w 849"/>
                  <a:gd name="T7" fmla="*/ 128 h 146"/>
                  <a:gd name="T8" fmla="*/ 18 w 849"/>
                  <a:gd name="T9" fmla="*/ 146 h 146"/>
                  <a:gd name="T10" fmla="*/ 831 w 849"/>
                  <a:gd name="T11" fmla="*/ 146 h 146"/>
                  <a:gd name="T12" fmla="*/ 849 w 849"/>
                  <a:gd name="T13" fmla="*/ 128 h 146"/>
                  <a:gd name="T14" fmla="*/ 849 w 849"/>
                  <a:gd name="T15" fmla="*/ 18 h 146"/>
                  <a:gd name="T16" fmla="*/ 831 w 849"/>
                  <a:gd name="T17" fmla="*/ 0 h 146"/>
                  <a:gd name="T18" fmla="*/ 193 w 849"/>
                  <a:gd name="T19" fmla="*/ 109 h 146"/>
                  <a:gd name="T20" fmla="*/ 156 w 849"/>
                  <a:gd name="T21" fmla="*/ 73 h 146"/>
                  <a:gd name="T22" fmla="*/ 193 w 849"/>
                  <a:gd name="T23" fmla="*/ 36 h 146"/>
                  <a:gd name="T24" fmla="*/ 230 w 849"/>
                  <a:gd name="T25" fmla="*/ 73 h 146"/>
                  <a:gd name="T26" fmla="*/ 193 w 849"/>
                  <a:gd name="T27" fmla="*/ 109 h 146"/>
                  <a:gd name="T28" fmla="*/ 379 w 849"/>
                  <a:gd name="T29" fmla="*/ 109 h 146"/>
                  <a:gd name="T30" fmla="*/ 342 w 849"/>
                  <a:gd name="T31" fmla="*/ 73 h 146"/>
                  <a:gd name="T32" fmla="*/ 379 w 849"/>
                  <a:gd name="T33" fmla="*/ 36 h 146"/>
                  <a:gd name="T34" fmla="*/ 415 w 849"/>
                  <a:gd name="T35" fmla="*/ 73 h 146"/>
                  <a:gd name="T36" fmla="*/ 379 w 849"/>
                  <a:gd name="T37" fmla="*/ 109 h 146"/>
                  <a:gd name="T38" fmla="*/ 472 w 849"/>
                  <a:gd name="T39" fmla="*/ 109 h 146"/>
                  <a:gd name="T40" fmla="*/ 436 w 849"/>
                  <a:gd name="T41" fmla="*/ 73 h 146"/>
                  <a:gd name="T42" fmla="*/ 472 w 849"/>
                  <a:gd name="T43" fmla="*/ 36 h 146"/>
                  <a:gd name="T44" fmla="*/ 509 w 849"/>
                  <a:gd name="T45" fmla="*/ 73 h 146"/>
                  <a:gd name="T46" fmla="*/ 472 w 849"/>
                  <a:gd name="T47" fmla="*/ 10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9" h="146">
                    <a:moveTo>
                      <a:pt x="831" y="0"/>
                    </a:moveTo>
                    <a:cubicBezTo>
                      <a:pt x="18" y="0"/>
                      <a:pt x="18" y="0"/>
                      <a:pt x="18" y="0"/>
                    </a:cubicBezTo>
                    <a:cubicBezTo>
                      <a:pt x="8" y="0"/>
                      <a:pt x="0" y="8"/>
                      <a:pt x="0" y="18"/>
                    </a:cubicBezTo>
                    <a:cubicBezTo>
                      <a:pt x="0" y="128"/>
                      <a:pt x="0" y="128"/>
                      <a:pt x="0" y="128"/>
                    </a:cubicBezTo>
                    <a:cubicBezTo>
                      <a:pt x="0" y="138"/>
                      <a:pt x="8" y="146"/>
                      <a:pt x="18" y="146"/>
                    </a:cubicBezTo>
                    <a:cubicBezTo>
                      <a:pt x="831" y="146"/>
                      <a:pt x="831" y="146"/>
                      <a:pt x="831" y="146"/>
                    </a:cubicBezTo>
                    <a:cubicBezTo>
                      <a:pt x="841" y="146"/>
                      <a:pt x="849" y="138"/>
                      <a:pt x="849" y="128"/>
                    </a:cubicBezTo>
                    <a:cubicBezTo>
                      <a:pt x="849" y="18"/>
                      <a:pt x="849" y="18"/>
                      <a:pt x="849" y="18"/>
                    </a:cubicBezTo>
                    <a:cubicBezTo>
                      <a:pt x="849" y="8"/>
                      <a:pt x="841" y="0"/>
                      <a:pt x="831" y="0"/>
                    </a:cubicBezTo>
                    <a:close/>
                    <a:moveTo>
                      <a:pt x="193" y="109"/>
                    </a:moveTo>
                    <a:cubicBezTo>
                      <a:pt x="173" y="109"/>
                      <a:pt x="156" y="93"/>
                      <a:pt x="156" y="73"/>
                    </a:cubicBezTo>
                    <a:cubicBezTo>
                      <a:pt x="156" y="53"/>
                      <a:pt x="173" y="36"/>
                      <a:pt x="193" y="36"/>
                    </a:cubicBezTo>
                    <a:cubicBezTo>
                      <a:pt x="213" y="36"/>
                      <a:pt x="230" y="53"/>
                      <a:pt x="230" y="73"/>
                    </a:cubicBezTo>
                    <a:cubicBezTo>
                      <a:pt x="230" y="93"/>
                      <a:pt x="213" y="109"/>
                      <a:pt x="193" y="109"/>
                    </a:cubicBezTo>
                    <a:close/>
                    <a:moveTo>
                      <a:pt x="379" y="109"/>
                    </a:moveTo>
                    <a:cubicBezTo>
                      <a:pt x="359" y="109"/>
                      <a:pt x="342" y="93"/>
                      <a:pt x="342" y="73"/>
                    </a:cubicBezTo>
                    <a:cubicBezTo>
                      <a:pt x="342" y="53"/>
                      <a:pt x="359" y="36"/>
                      <a:pt x="379" y="36"/>
                    </a:cubicBezTo>
                    <a:cubicBezTo>
                      <a:pt x="399" y="36"/>
                      <a:pt x="415" y="53"/>
                      <a:pt x="415" y="73"/>
                    </a:cubicBezTo>
                    <a:cubicBezTo>
                      <a:pt x="415" y="93"/>
                      <a:pt x="399" y="109"/>
                      <a:pt x="379" y="109"/>
                    </a:cubicBezTo>
                    <a:close/>
                    <a:moveTo>
                      <a:pt x="472" y="109"/>
                    </a:moveTo>
                    <a:cubicBezTo>
                      <a:pt x="452" y="109"/>
                      <a:pt x="436" y="93"/>
                      <a:pt x="436" y="73"/>
                    </a:cubicBezTo>
                    <a:cubicBezTo>
                      <a:pt x="436" y="53"/>
                      <a:pt x="452" y="36"/>
                      <a:pt x="472" y="36"/>
                    </a:cubicBezTo>
                    <a:cubicBezTo>
                      <a:pt x="492" y="36"/>
                      <a:pt x="509" y="53"/>
                      <a:pt x="509" y="73"/>
                    </a:cubicBezTo>
                    <a:cubicBezTo>
                      <a:pt x="509" y="93"/>
                      <a:pt x="492" y="109"/>
                      <a:pt x="472" y="109"/>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159"/>
                <a:endParaRPr lang="en-US" sz="1765" spc="-95">
                  <a:gradFill>
                    <a:gsLst>
                      <a:gs pos="0">
                        <a:srgbClr val="FFFFFF"/>
                      </a:gs>
                      <a:gs pos="100000">
                        <a:srgbClr val="FFFFFF"/>
                      </a:gs>
                    </a:gsLst>
                    <a:lin ang="5400000" scaled="0"/>
                  </a:gradFill>
                  <a:latin typeface="Segoe Light" pitchFamily="34" charset="0"/>
                </a:endParaRPr>
              </a:p>
            </p:txBody>
          </p:sp>
          <p:sp>
            <p:nvSpPr>
              <p:cNvPr id="6" name="Freeform 7"/>
              <p:cNvSpPr>
                <a:spLocks/>
              </p:cNvSpPr>
              <p:nvPr userDrawn="1"/>
            </p:nvSpPr>
            <p:spPr bwMode="auto">
              <a:xfrm>
                <a:off x="6594051" y="8222289"/>
                <a:ext cx="1154112" cy="358775"/>
              </a:xfrm>
              <a:custGeom>
                <a:avLst/>
                <a:gdLst>
                  <a:gd name="T0" fmla="*/ 126 w 308"/>
                  <a:gd name="T1" fmla="*/ 0 h 96"/>
                  <a:gd name="T2" fmla="*/ 97 w 308"/>
                  <a:gd name="T3" fmla="*/ 6 h 96"/>
                  <a:gd name="T4" fmla="*/ 12 w 308"/>
                  <a:gd name="T5" fmla="*/ 45 h 96"/>
                  <a:gd name="T6" fmla="*/ 3 w 308"/>
                  <a:gd name="T7" fmla="*/ 65 h 96"/>
                  <a:gd name="T8" fmla="*/ 10 w 308"/>
                  <a:gd name="T9" fmla="*/ 82 h 96"/>
                  <a:gd name="T10" fmla="*/ 30 w 308"/>
                  <a:gd name="T11" fmla="*/ 96 h 96"/>
                  <a:gd name="T12" fmla="*/ 279 w 308"/>
                  <a:gd name="T13" fmla="*/ 96 h 96"/>
                  <a:gd name="T14" fmla="*/ 299 w 308"/>
                  <a:gd name="T15" fmla="*/ 82 h 96"/>
                  <a:gd name="T16" fmla="*/ 305 w 308"/>
                  <a:gd name="T17" fmla="*/ 64 h 96"/>
                  <a:gd name="T18" fmla="*/ 296 w 308"/>
                  <a:gd name="T19" fmla="*/ 44 h 96"/>
                  <a:gd name="T20" fmla="*/ 211 w 308"/>
                  <a:gd name="T21" fmla="*/ 6 h 96"/>
                  <a:gd name="T22" fmla="*/ 182 w 308"/>
                  <a:gd name="T23" fmla="*/ 0 h 96"/>
                  <a:gd name="T24" fmla="*/ 126 w 308"/>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96">
                    <a:moveTo>
                      <a:pt x="126" y="0"/>
                    </a:moveTo>
                    <a:cubicBezTo>
                      <a:pt x="118" y="0"/>
                      <a:pt x="105" y="3"/>
                      <a:pt x="97" y="6"/>
                    </a:cubicBezTo>
                    <a:cubicBezTo>
                      <a:pt x="12" y="45"/>
                      <a:pt x="12" y="45"/>
                      <a:pt x="12" y="45"/>
                    </a:cubicBezTo>
                    <a:cubicBezTo>
                      <a:pt x="4" y="48"/>
                      <a:pt x="0" y="57"/>
                      <a:pt x="3" y="65"/>
                    </a:cubicBezTo>
                    <a:cubicBezTo>
                      <a:pt x="10" y="82"/>
                      <a:pt x="10" y="82"/>
                      <a:pt x="10" y="82"/>
                    </a:cubicBezTo>
                    <a:cubicBezTo>
                      <a:pt x="12" y="90"/>
                      <a:pt x="22" y="96"/>
                      <a:pt x="30" y="96"/>
                    </a:cubicBezTo>
                    <a:cubicBezTo>
                      <a:pt x="279" y="96"/>
                      <a:pt x="279" y="96"/>
                      <a:pt x="279" y="96"/>
                    </a:cubicBezTo>
                    <a:cubicBezTo>
                      <a:pt x="287" y="96"/>
                      <a:pt x="296" y="90"/>
                      <a:pt x="299" y="82"/>
                    </a:cubicBezTo>
                    <a:cubicBezTo>
                      <a:pt x="305" y="64"/>
                      <a:pt x="305" y="64"/>
                      <a:pt x="305" y="64"/>
                    </a:cubicBezTo>
                    <a:cubicBezTo>
                      <a:pt x="308" y="56"/>
                      <a:pt x="304" y="47"/>
                      <a:pt x="296" y="44"/>
                    </a:cubicBezTo>
                    <a:cubicBezTo>
                      <a:pt x="211" y="6"/>
                      <a:pt x="211" y="6"/>
                      <a:pt x="211" y="6"/>
                    </a:cubicBezTo>
                    <a:cubicBezTo>
                      <a:pt x="203" y="2"/>
                      <a:pt x="190" y="0"/>
                      <a:pt x="182" y="0"/>
                    </a:cubicBezTo>
                    <a:lnTo>
                      <a:pt x="126" y="0"/>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159"/>
                <a:endParaRPr lang="en-US" sz="1765" spc="-95">
                  <a:gradFill>
                    <a:gsLst>
                      <a:gs pos="0">
                        <a:srgbClr val="FFFFFF"/>
                      </a:gs>
                      <a:gs pos="100000">
                        <a:srgbClr val="FFFFFF"/>
                      </a:gs>
                    </a:gsLst>
                    <a:lin ang="5400000" scaled="0"/>
                  </a:gradFill>
                  <a:latin typeface="Segoe Light" pitchFamily="34" charset="0"/>
                </a:endParaRPr>
              </a:p>
            </p:txBody>
          </p:sp>
        </p:grpSp>
        <p:sp>
          <p:nvSpPr>
            <p:cNvPr id="19" name="Freeform 7"/>
            <p:cNvSpPr>
              <a:spLocks noChangeAspect="1" noEditPoints="1"/>
            </p:cNvSpPr>
            <p:nvPr userDrawn="1"/>
          </p:nvSpPr>
          <p:spPr bwMode="black">
            <a:xfrm>
              <a:off x="8450794" y="3139440"/>
              <a:ext cx="900406" cy="56874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159"/>
              <a:endParaRPr lang="en-US" sz="1765" spc="-95">
                <a:gradFill>
                  <a:gsLst>
                    <a:gs pos="0">
                      <a:srgbClr val="FFFFFF"/>
                    </a:gs>
                    <a:gs pos="100000">
                      <a:srgbClr val="FFFFFF"/>
                    </a:gs>
                  </a:gsLst>
                  <a:lin ang="5400000" scaled="0"/>
                </a:gradFill>
                <a:latin typeface="Segoe Light" pitchFamily="34" charset="0"/>
              </a:endParaRPr>
            </a:p>
          </p:txBody>
        </p:sp>
      </p:grpSp>
      <p:sp>
        <p:nvSpPr>
          <p:cNvPr id="22" name="Freeform 17"/>
          <p:cNvSpPr>
            <a:spLocks noEditPoints="1"/>
          </p:cNvSpPr>
          <p:nvPr/>
        </p:nvSpPr>
        <p:spPr bwMode="auto">
          <a:xfrm>
            <a:off x="6227355" y="2076999"/>
            <a:ext cx="258424" cy="451937"/>
          </a:xfrm>
          <a:custGeom>
            <a:avLst/>
            <a:gdLst>
              <a:gd name="T0" fmla="*/ 1217 w 1337"/>
              <a:gd name="T1" fmla="*/ 0 h 2644"/>
              <a:gd name="T2" fmla="*/ 120 w 1337"/>
              <a:gd name="T3" fmla="*/ 0 h 2644"/>
              <a:gd name="T4" fmla="*/ 0 w 1337"/>
              <a:gd name="T5" fmla="*/ 120 h 2644"/>
              <a:gd name="T6" fmla="*/ 0 w 1337"/>
              <a:gd name="T7" fmla="*/ 2524 h 2644"/>
              <a:gd name="T8" fmla="*/ 120 w 1337"/>
              <a:gd name="T9" fmla="*/ 2644 h 2644"/>
              <a:gd name="T10" fmla="*/ 1217 w 1337"/>
              <a:gd name="T11" fmla="*/ 2644 h 2644"/>
              <a:gd name="T12" fmla="*/ 1337 w 1337"/>
              <a:gd name="T13" fmla="*/ 2524 h 2644"/>
              <a:gd name="T14" fmla="*/ 1337 w 1337"/>
              <a:gd name="T15" fmla="*/ 120 h 2644"/>
              <a:gd name="T16" fmla="*/ 1217 w 1337"/>
              <a:gd name="T17" fmla="*/ 0 h 2644"/>
              <a:gd name="T18" fmla="*/ 374 w 1337"/>
              <a:gd name="T19" fmla="*/ 2479 h 2644"/>
              <a:gd name="T20" fmla="*/ 102 w 1337"/>
              <a:gd name="T21" fmla="*/ 2479 h 2644"/>
              <a:gd name="T22" fmla="*/ 102 w 1337"/>
              <a:gd name="T23" fmla="*/ 2416 h 2644"/>
              <a:gd name="T24" fmla="*/ 374 w 1337"/>
              <a:gd name="T25" fmla="*/ 2416 h 2644"/>
              <a:gd name="T26" fmla="*/ 374 w 1337"/>
              <a:gd name="T27" fmla="*/ 2479 h 2644"/>
              <a:gd name="T28" fmla="*/ 653 w 1337"/>
              <a:gd name="T29" fmla="*/ 2479 h 2644"/>
              <a:gd name="T30" fmla="*/ 380 w 1337"/>
              <a:gd name="T31" fmla="*/ 2479 h 2644"/>
              <a:gd name="T32" fmla="*/ 380 w 1337"/>
              <a:gd name="T33" fmla="*/ 2416 h 2644"/>
              <a:gd name="T34" fmla="*/ 653 w 1337"/>
              <a:gd name="T35" fmla="*/ 2416 h 2644"/>
              <a:gd name="T36" fmla="*/ 653 w 1337"/>
              <a:gd name="T37" fmla="*/ 2479 h 2644"/>
              <a:gd name="T38" fmla="*/ 932 w 1337"/>
              <a:gd name="T39" fmla="*/ 2479 h 2644"/>
              <a:gd name="T40" fmla="*/ 659 w 1337"/>
              <a:gd name="T41" fmla="*/ 2479 h 2644"/>
              <a:gd name="T42" fmla="*/ 659 w 1337"/>
              <a:gd name="T43" fmla="*/ 2416 h 2644"/>
              <a:gd name="T44" fmla="*/ 932 w 1337"/>
              <a:gd name="T45" fmla="*/ 2416 h 2644"/>
              <a:gd name="T46" fmla="*/ 932 w 1337"/>
              <a:gd name="T47" fmla="*/ 2479 h 2644"/>
              <a:gd name="T48" fmla="*/ 1210 w 1337"/>
              <a:gd name="T49" fmla="*/ 2479 h 2644"/>
              <a:gd name="T50" fmla="*/ 938 w 1337"/>
              <a:gd name="T51" fmla="*/ 2479 h 2644"/>
              <a:gd name="T52" fmla="*/ 938 w 1337"/>
              <a:gd name="T53" fmla="*/ 2416 h 2644"/>
              <a:gd name="T54" fmla="*/ 1210 w 1337"/>
              <a:gd name="T55" fmla="*/ 2416 h 2644"/>
              <a:gd name="T56" fmla="*/ 1210 w 1337"/>
              <a:gd name="T57" fmla="*/ 2479 h 2644"/>
              <a:gd name="T58" fmla="*/ 1241 w 1337"/>
              <a:gd name="T59" fmla="*/ 2232 h 2644"/>
              <a:gd name="T60" fmla="*/ 84 w 1337"/>
              <a:gd name="T61" fmla="*/ 2232 h 2644"/>
              <a:gd name="T62" fmla="*/ 84 w 1337"/>
              <a:gd name="T63" fmla="*/ 214 h 2644"/>
              <a:gd name="T64" fmla="*/ 1241 w 1337"/>
              <a:gd name="T65" fmla="*/ 214 h 2644"/>
              <a:gd name="T66" fmla="*/ 1241 w 1337"/>
              <a:gd name="T67" fmla="*/ 2232 h 2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7" h="2644">
                <a:moveTo>
                  <a:pt x="1217" y="0"/>
                </a:moveTo>
                <a:cubicBezTo>
                  <a:pt x="120" y="0"/>
                  <a:pt x="120" y="0"/>
                  <a:pt x="120" y="0"/>
                </a:cubicBezTo>
                <a:cubicBezTo>
                  <a:pt x="54" y="0"/>
                  <a:pt x="0" y="54"/>
                  <a:pt x="0" y="120"/>
                </a:cubicBezTo>
                <a:cubicBezTo>
                  <a:pt x="0" y="2524"/>
                  <a:pt x="0" y="2524"/>
                  <a:pt x="0" y="2524"/>
                </a:cubicBezTo>
                <a:cubicBezTo>
                  <a:pt x="0" y="2590"/>
                  <a:pt x="54" y="2644"/>
                  <a:pt x="120" y="2644"/>
                </a:cubicBezTo>
                <a:cubicBezTo>
                  <a:pt x="1217" y="2644"/>
                  <a:pt x="1217" y="2644"/>
                  <a:pt x="1217" y="2644"/>
                </a:cubicBezTo>
                <a:cubicBezTo>
                  <a:pt x="1283" y="2644"/>
                  <a:pt x="1337" y="2590"/>
                  <a:pt x="1337" y="2524"/>
                </a:cubicBezTo>
                <a:cubicBezTo>
                  <a:pt x="1337" y="120"/>
                  <a:pt x="1337" y="120"/>
                  <a:pt x="1337" y="120"/>
                </a:cubicBezTo>
                <a:cubicBezTo>
                  <a:pt x="1337" y="54"/>
                  <a:pt x="1283" y="0"/>
                  <a:pt x="1217" y="0"/>
                </a:cubicBezTo>
                <a:close/>
                <a:moveTo>
                  <a:pt x="374" y="2479"/>
                </a:moveTo>
                <a:cubicBezTo>
                  <a:pt x="102" y="2479"/>
                  <a:pt x="102" y="2479"/>
                  <a:pt x="102" y="2479"/>
                </a:cubicBezTo>
                <a:cubicBezTo>
                  <a:pt x="102" y="2416"/>
                  <a:pt x="102" y="2416"/>
                  <a:pt x="102" y="2416"/>
                </a:cubicBezTo>
                <a:cubicBezTo>
                  <a:pt x="374" y="2416"/>
                  <a:pt x="374" y="2416"/>
                  <a:pt x="374" y="2416"/>
                </a:cubicBezTo>
                <a:lnTo>
                  <a:pt x="374" y="2479"/>
                </a:lnTo>
                <a:close/>
                <a:moveTo>
                  <a:pt x="653" y="2479"/>
                </a:moveTo>
                <a:cubicBezTo>
                  <a:pt x="380" y="2479"/>
                  <a:pt x="380" y="2479"/>
                  <a:pt x="380" y="2479"/>
                </a:cubicBezTo>
                <a:cubicBezTo>
                  <a:pt x="380" y="2416"/>
                  <a:pt x="380" y="2416"/>
                  <a:pt x="380" y="2416"/>
                </a:cubicBezTo>
                <a:cubicBezTo>
                  <a:pt x="653" y="2416"/>
                  <a:pt x="653" y="2416"/>
                  <a:pt x="653" y="2416"/>
                </a:cubicBezTo>
                <a:lnTo>
                  <a:pt x="653" y="2479"/>
                </a:lnTo>
                <a:close/>
                <a:moveTo>
                  <a:pt x="932" y="2479"/>
                </a:moveTo>
                <a:cubicBezTo>
                  <a:pt x="659" y="2479"/>
                  <a:pt x="659" y="2479"/>
                  <a:pt x="659" y="2479"/>
                </a:cubicBezTo>
                <a:cubicBezTo>
                  <a:pt x="659" y="2416"/>
                  <a:pt x="659" y="2416"/>
                  <a:pt x="659" y="2416"/>
                </a:cubicBezTo>
                <a:cubicBezTo>
                  <a:pt x="932" y="2416"/>
                  <a:pt x="932" y="2416"/>
                  <a:pt x="932" y="2416"/>
                </a:cubicBezTo>
                <a:lnTo>
                  <a:pt x="932" y="2479"/>
                </a:lnTo>
                <a:close/>
                <a:moveTo>
                  <a:pt x="1210" y="2479"/>
                </a:moveTo>
                <a:cubicBezTo>
                  <a:pt x="938" y="2479"/>
                  <a:pt x="938" y="2479"/>
                  <a:pt x="938" y="2479"/>
                </a:cubicBezTo>
                <a:cubicBezTo>
                  <a:pt x="938" y="2416"/>
                  <a:pt x="938" y="2416"/>
                  <a:pt x="938" y="2416"/>
                </a:cubicBezTo>
                <a:cubicBezTo>
                  <a:pt x="1210" y="2416"/>
                  <a:pt x="1210" y="2416"/>
                  <a:pt x="1210" y="2416"/>
                </a:cubicBezTo>
                <a:lnTo>
                  <a:pt x="1210" y="2479"/>
                </a:lnTo>
                <a:close/>
                <a:moveTo>
                  <a:pt x="1241" y="2232"/>
                </a:moveTo>
                <a:cubicBezTo>
                  <a:pt x="84" y="2232"/>
                  <a:pt x="84" y="2232"/>
                  <a:pt x="84" y="2232"/>
                </a:cubicBezTo>
                <a:cubicBezTo>
                  <a:pt x="84" y="214"/>
                  <a:pt x="84" y="214"/>
                  <a:pt x="84" y="214"/>
                </a:cubicBezTo>
                <a:cubicBezTo>
                  <a:pt x="1241" y="214"/>
                  <a:pt x="1241" y="214"/>
                  <a:pt x="1241" y="214"/>
                </a:cubicBezTo>
                <a:lnTo>
                  <a:pt x="1241" y="2232"/>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3" rIns="63466" bIns="31733" numCol="1" rtlCol="0" anchor="ctr" anchorCtr="0" compatLnSpc="1">
            <a:prstTxWarp prst="textNoShape">
              <a:avLst/>
            </a:prstTxWarp>
          </a:bodyPr>
          <a:lstStyle/>
          <a:p>
            <a:pPr algn="ctr" defTabSz="571159"/>
            <a:endParaRPr lang="en-US" sz="1765" spc="-95">
              <a:gradFill>
                <a:gsLst>
                  <a:gs pos="0">
                    <a:srgbClr val="FFFFFF"/>
                  </a:gs>
                  <a:gs pos="100000">
                    <a:srgbClr val="FFFFFF"/>
                  </a:gs>
                </a:gsLst>
                <a:lin ang="5400000" scaled="0"/>
              </a:gradFill>
              <a:latin typeface="Segoe Light" pitchFamily="34" charset="0"/>
            </a:endParaRPr>
          </a:p>
        </p:txBody>
      </p:sp>
      <p:sp>
        <p:nvSpPr>
          <p:cNvPr id="2" name="Footer Placeholder 1"/>
          <p:cNvSpPr>
            <a:spLocks noGrp="1"/>
          </p:cNvSpPr>
          <p:nvPr>
            <p:ph type="ftr" sz="quarter" idx="10"/>
          </p:nvPr>
        </p:nvSpPr>
        <p:spPr>
          <a:xfrm>
            <a:off x="90020" y="6656550"/>
            <a:ext cx="3859607" cy="154130"/>
          </a:xfrm>
          <a:prstGeom prst="rect">
            <a:avLst/>
          </a:prstGeom>
        </p:spPr>
        <p:txBody>
          <a:bodyPr/>
          <a:lstStyle/>
          <a:p>
            <a:r>
              <a:rPr lang="en-US" smtClean="0">
                <a:solidFill>
                  <a:srgbClr val="505050">
                    <a:tint val="75000"/>
                  </a:srgbClr>
                </a:solidFill>
              </a:rPr>
              <a:t>Microsoft Confidential</a:t>
            </a:r>
            <a:endParaRPr lang="en-US" dirty="0">
              <a:solidFill>
                <a:srgbClr val="505050">
                  <a:tint val="75000"/>
                </a:srgbClr>
              </a:solidFill>
            </a:endParaRPr>
          </a:p>
        </p:txBody>
      </p:sp>
      <p:sp>
        <p:nvSpPr>
          <p:cNvPr id="3" name="Slide Number Placeholder 2"/>
          <p:cNvSpPr>
            <a:spLocks noGrp="1"/>
          </p:cNvSpPr>
          <p:nvPr>
            <p:ph type="sldNum" sz="quarter" idx="11"/>
          </p:nvPr>
        </p:nvSpPr>
        <p:spPr>
          <a:xfrm>
            <a:off x="11474490" y="6656552"/>
            <a:ext cx="679506" cy="162535"/>
          </a:xfrm>
          <a:prstGeom prst="rect">
            <a:avLst/>
          </a:prstGeom>
        </p:spPr>
        <p:txBody>
          <a:bodyPr/>
          <a:lstStyle/>
          <a:p>
            <a:pPr defTabSz="914225"/>
            <a:fld id="{337CC868-EBA7-ED47-93D7-8656571B0709}"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78533210"/>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2594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2594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D357A087-EBDD-47AF-89FC-5E39B48BAD7F}" type="datetimeFigureOut">
              <a:rPr lang="en-US" smtClean="0">
                <a:solidFill>
                  <a:srgbClr val="505050"/>
                </a:solidFill>
              </a:rPr>
              <a:pPr defTabSz="914225"/>
              <a:t>3/27/2015</a:t>
            </a:fld>
            <a:endParaRPr lang="en-US">
              <a:solidFill>
                <a:srgbClr val="505050"/>
              </a:solidFill>
            </a:endParaRPr>
          </a:p>
        </p:txBody>
      </p:sp>
      <p:sp>
        <p:nvSpPr>
          <p:cNvPr id="6" name="Footer Placeholder 5"/>
          <p:cNvSpPr>
            <a:spLocks noGrp="1"/>
          </p:cNvSpPr>
          <p:nvPr>
            <p:ph type="ftr" sz="quarter" idx="11"/>
          </p:nvPr>
        </p:nvSpPr>
        <p:spPr/>
        <p:txBody>
          <a:bodyPr/>
          <a:lstStyle/>
          <a:p>
            <a:endParaRPr lang="en-US">
              <a:solidFill>
                <a:srgbClr val="505050">
                  <a:tint val="75000"/>
                </a:srgbClr>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3232C0A4-028C-4D25-8B28-EA70D26D0177}"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112734618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4_PresentationTitle_">
    <p:bg>
      <p:bgPr>
        <a:solidFill>
          <a:schemeClr val="bg1"/>
        </a:solidFill>
        <a:effectLst/>
      </p:bgPr>
    </p:bg>
    <p:spTree>
      <p:nvGrpSpPr>
        <p:cNvPr id="1" name=""/>
        <p:cNvGrpSpPr/>
        <p:nvPr/>
      </p:nvGrpSpPr>
      <p:grpSpPr>
        <a:xfrm>
          <a:off x="0" y="0"/>
          <a:ext cx="0" cy="0"/>
          <a:chOff x="0" y="0"/>
          <a:chExt cx="0" cy="0"/>
        </a:xfrm>
      </p:grpSpPr>
      <p:pic>
        <p:nvPicPr>
          <p:cNvPr id="11" name="Picture 10" descr="WEB13_Patrick_081.jp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8" y="1559"/>
                        <a:ext cx="1556" cy="1556"/>
                      </a:xfrm>
                      <a:prstGeom prst="rect">
                        <a:avLst/>
                      </a:prstGeom>
                    </p:spPr>
                  </p:pic>
                </p:oleObj>
              </mc:Fallback>
            </mc:AlternateContent>
          </a:graphicData>
        </a:graphic>
      </p:graphicFrame>
      <p:sp>
        <p:nvSpPr>
          <p:cNvPr id="9" name="Rectangle 8"/>
          <p:cNvSpPr/>
          <p:nvPr/>
        </p:nvSpPr>
        <p:spPr bwMode="auto">
          <a:xfrm>
            <a:off x="0" y="2584560"/>
            <a:ext cx="7956223" cy="3818020"/>
          </a:xfrm>
          <a:prstGeom prst="rect">
            <a:avLst/>
          </a:prstGeom>
          <a:solidFill>
            <a:schemeClr val="accent4">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8" tIns="143383" rIns="179228" bIns="143383" numCol="1" spcCol="0" rtlCol="0" fromWordArt="0" anchor="t" anchorCtr="0" forceAA="0" compatLnSpc="1">
            <a:prstTxWarp prst="textNoShape">
              <a:avLst/>
            </a:prstTxWarp>
            <a:noAutofit/>
          </a:bodyPr>
          <a:lstStyle/>
          <a:p>
            <a:pPr algn="ctr" defTabSz="91372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57201" y="2735294"/>
            <a:ext cx="7272318" cy="1329595"/>
          </a:xfrm>
          <a:prstGeom prst="rect">
            <a:avLst/>
          </a:prstGeom>
        </p:spPr>
        <p:txBody>
          <a:bodyPr wrap="square" lIns="146304" tIns="0" rIns="146304" bIns="0">
            <a:spAutoFit/>
          </a:bodyPr>
          <a:lstStyle>
            <a:lvl1pPr>
              <a:lnSpc>
                <a:spcPct val="90000"/>
              </a:lnSpc>
              <a:spcBef>
                <a:spcPts val="0"/>
              </a:spcBef>
              <a:defRPr sz="48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0" y="5191581"/>
            <a:ext cx="7291634" cy="1034783"/>
          </a:xfrm>
          <a:prstGeom prst="rect">
            <a:avLst/>
          </a:prstGeom>
        </p:spPr>
        <p:txBody>
          <a:bodyPr lIns="146304" tIns="0" rIns="146304" bIns="0">
            <a:normAutofit/>
          </a:bodyPr>
          <a:lstStyle>
            <a:lvl1pPr marL="0" indent="0" algn="l">
              <a:lnSpc>
                <a:spcPct val="90000"/>
              </a:lnSpc>
              <a:spcBef>
                <a:spcPts val="0"/>
              </a:spcBef>
              <a:buNone/>
              <a:defRPr sz="2000">
                <a:solidFill>
                  <a:schemeClr val="bg1"/>
                </a:solidFill>
                <a:latin typeface="+mn-lt"/>
              </a:defRPr>
            </a:lvl1pPr>
            <a:lvl2pPr marL="448009" indent="0" algn="ctr">
              <a:buNone/>
              <a:defRPr>
                <a:solidFill>
                  <a:schemeClr val="tx1">
                    <a:tint val="75000"/>
                  </a:schemeClr>
                </a:solidFill>
              </a:defRPr>
            </a:lvl2pPr>
            <a:lvl3pPr marL="896020" indent="0" algn="ctr">
              <a:buNone/>
              <a:defRPr>
                <a:solidFill>
                  <a:schemeClr val="tx1">
                    <a:tint val="75000"/>
                  </a:schemeClr>
                </a:solidFill>
              </a:defRPr>
            </a:lvl3pPr>
            <a:lvl4pPr marL="1344030" indent="0" algn="ctr">
              <a:buNone/>
              <a:defRPr>
                <a:solidFill>
                  <a:schemeClr val="tx1">
                    <a:tint val="75000"/>
                  </a:schemeClr>
                </a:solidFill>
              </a:defRPr>
            </a:lvl4pPr>
            <a:lvl5pPr marL="1792040" indent="0" algn="ctr">
              <a:buNone/>
              <a:defRPr>
                <a:solidFill>
                  <a:schemeClr val="tx1">
                    <a:tint val="75000"/>
                  </a:schemeClr>
                </a:solidFill>
              </a:defRPr>
            </a:lvl5pPr>
            <a:lvl6pPr marL="2240049" indent="0" algn="ctr">
              <a:buNone/>
              <a:defRPr>
                <a:solidFill>
                  <a:schemeClr val="tx1">
                    <a:tint val="75000"/>
                  </a:schemeClr>
                </a:solidFill>
              </a:defRPr>
            </a:lvl6pPr>
            <a:lvl7pPr marL="2688059" indent="0" algn="ctr">
              <a:buNone/>
              <a:defRPr>
                <a:solidFill>
                  <a:schemeClr val="tx1">
                    <a:tint val="75000"/>
                  </a:schemeClr>
                </a:solidFill>
              </a:defRPr>
            </a:lvl7pPr>
            <a:lvl8pPr marL="3136069" indent="0" algn="ctr">
              <a:buNone/>
              <a:defRPr>
                <a:solidFill>
                  <a:schemeClr val="tx1">
                    <a:tint val="75000"/>
                  </a:schemeClr>
                </a:solidFill>
              </a:defRPr>
            </a:lvl8pPr>
            <a:lvl9pPr marL="3584078"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80" y="4138757"/>
            <a:ext cx="7291254" cy="863867"/>
          </a:xfrm>
          <a:prstGeom prst="rect">
            <a:avLst/>
          </a:prstGeom>
        </p:spPr>
        <p:txBody>
          <a:bodyPr lIns="146304" tIns="0" rIns="146304" bIns="0">
            <a:normAutofit/>
          </a:bodyPr>
          <a:lstStyle>
            <a:lvl1pPr marL="0" indent="0">
              <a:lnSpc>
                <a:spcPct val="90000"/>
              </a:lnSpc>
              <a:spcBef>
                <a:spcPts val="0"/>
              </a:spcBef>
              <a:buNone/>
              <a:defRPr sz="2000" baseline="0">
                <a:solidFill>
                  <a:schemeClr val="bg1"/>
                </a:solidFill>
                <a:latin typeface="+mn-lt"/>
              </a:defRPr>
            </a:lvl1pPr>
            <a:lvl2pPr marL="336008" indent="0">
              <a:buNone/>
              <a:defRPr sz="1600">
                <a:solidFill>
                  <a:schemeClr val="bg1"/>
                </a:solidFill>
                <a:latin typeface="+mj-lt"/>
              </a:defRPr>
            </a:lvl2pPr>
            <a:lvl3pPr marL="560013" indent="0">
              <a:buNone/>
              <a:defRPr sz="1300">
                <a:solidFill>
                  <a:schemeClr val="bg1"/>
                </a:solidFill>
                <a:latin typeface="+mj-lt"/>
              </a:defRPr>
            </a:lvl3pPr>
            <a:lvl4pPr marL="784016" indent="0">
              <a:buNone/>
              <a:defRPr sz="1200">
                <a:solidFill>
                  <a:schemeClr val="bg1"/>
                </a:solidFill>
                <a:latin typeface="+mj-lt"/>
              </a:defRPr>
            </a:lvl4pPr>
            <a:lvl5pPr marL="1008022" indent="0">
              <a:buNone/>
              <a:defRPr sz="12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3" y="6402580"/>
            <a:ext cx="1278487" cy="280187"/>
          </a:xfrm>
          <a:prstGeom prst="rect">
            <a:avLst/>
          </a:prstGeom>
        </p:spPr>
      </p:pic>
    </p:spTree>
    <p:extLst>
      <p:ext uri="{BB962C8B-B14F-4D97-AF65-F5344CB8AC3E}">
        <p14:creationId xmlns:p14="http://schemas.microsoft.com/office/powerpoint/2010/main" val="1705709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7" y="3"/>
            <a:ext cx="12190269" cy="6857999"/>
          </a:xfrm>
          <a:prstGeom prst="rect">
            <a:avLst/>
          </a:prstGeom>
        </p:spPr>
      </p:pic>
      <p:sp>
        <p:nvSpPr>
          <p:cNvPr id="18" name="Rectangle 17"/>
          <p:cNvSpPr/>
          <p:nvPr userDrawn="1"/>
        </p:nvSpPr>
        <p:spPr bwMode="gray">
          <a:xfrm>
            <a:off x="269242"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3381" tIns="89614" rIns="143381" bIns="89614" anchor="t" anchorCtr="0"/>
          <a:lstStyle>
            <a:lvl1pPr>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3"/>
            <a:ext cx="7172955" cy="1789991"/>
          </a:xfrm>
        </p:spPr>
        <p:txBody>
          <a:bodyPr tIns="107536" bIns="107536">
            <a:noAutofit/>
          </a:bodyPr>
          <a:lstStyle>
            <a:lvl1pPr marL="0" indent="0">
              <a:spcBef>
                <a:spcPts val="0"/>
              </a:spcBef>
              <a:buNone/>
              <a:defRPr sz="31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49322" y="471128"/>
            <a:ext cx="1522404" cy="326166"/>
          </a:xfrm>
          <a:prstGeom prst="rect">
            <a:avLst/>
          </a:prstGeom>
        </p:spPr>
      </p:pic>
    </p:spTree>
    <p:extLst>
      <p:ext uri="{BB962C8B-B14F-4D97-AF65-F5344CB8AC3E}">
        <p14:creationId xmlns:p14="http://schemas.microsoft.com/office/powerpoint/2010/main" val="2322952084"/>
      </p:ext>
    </p:extLst>
  </p:cSld>
  <p:clrMapOvr>
    <a:masterClrMapping/>
  </p:clrMapOvr>
  <p:transition spd="slow">
    <p:push/>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BLUE - SECTION TI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0999" y="2268110"/>
            <a:ext cx="11244943" cy="1198464"/>
          </a:xfrm>
        </p:spPr>
        <p:txBody>
          <a:bodyPr/>
          <a:lstStyle>
            <a:lvl1pPr>
              <a:defRPr sz="7198">
                <a:solidFill>
                  <a:schemeClr val="bg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81001" y="3686175"/>
            <a:ext cx="11260138" cy="461665"/>
          </a:xfrm>
        </p:spPr>
        <p:txBody>
          <a:bodyPr>
            <a:spAutoFit/>
          </a:bodyPr>
          <a:lstStyle>
            <a:lvl1pPr>
              <a:spcBef>
                <a:spcPts val="0"/>
              </a:spcBef>
              <a:defRPr sz="2000" spc="0">
                <a:solidFill>
                  <a:schemeClr val="bg1"/>
                </a:solidFill>
                <a:latin typeface="+mn-lt"/>
              </a:defRPr>
            </a:lvl1pPr>
            <a:lvl2pPr>
              <a:defRPr sz="1400" spc="0">
                <a:solidFill>
                  <a:schemeClr val="bg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p:txBody>
      </p:sp>
      <p:sp>
        <p:nvSpPr>
          <p:cNvPr id="10" name="Text Placeholder 5"/>
          <p:cNvSpPr>
            <a:spLocks noGrp="1"/>
          </p:cNvSpPr>
          <p:nvPr>
            <p:ph type="body" sz="quarter" idx="11" hasCustomPrompt="1"/>
          </p:nvPr>
        </p:nvSpPr>
        <p:spPr>
          <a:xfrm>
            <a:off x="381000" y="5898833"/>
            <a:ext cx="6057275" cy="341630"/>
          </a:xfrm>
        </p:spPr>
        <p:txBody>
          <a:bodyPr vert="horz" wrap="square" lIns="146304" tIns="45719" rIns="146304" bIns="45719" rtlCol="0">
            <a:spAutoFit/>
          </a:bodyPr>
          <a:lstStyle>
            <a:lvl1pPr>
              <a:defRPr lang="en-US" sz="1800" kern="1200" spc="0" baseline="0" dirty="0" smtClean="0">
                <a:solidFill>
                  <a:schemeClr val="bg1"/>
                </a:solidFill>
                <a:latin typeface="+mn-lt"/>
                <a:ea typeface="Segoe UI" pitchFamily="34" charset="0"/>
                <a:cs typeface="Segoe UI" pitchFamily="34" charset="0"/>
              </a:defRPr>
            </a:lvl1pPr>
          </a:lstStyle>
          <a:p>
            <a:pPr lvl="0"/>
            <a:r>
              <a:rPr lang="en-US" dirty="0" smtClean="0">
                <a:latin typeface="+mj-lt"/>
              </a:rPr>
              <a:t>Create the Internet of Your Things. </a:t>
            </a: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gray">
          <a:xfrm>
            <a:off x="458333" y="480503"/>
            <a:ext cx="1552931" cy="332660"/>
          </a:xfrm>
          <a:prstGeom prst="rect">
            <a:avLst/>
          </a:prstGeom>
        </p:spPr>
      </p:pic>
    </p:spTree>
    <p:extLst>
      <p:ext uri="{BB962C8B-B14F-4D97-AF65-F5344CB8AC3E}">
        <p14:creationId xmlns:p14="http://schemas.microsoft.com/office/powerpoint/2010/main" val="1067974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9" y="3"/>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3381" tIns="89614" rIns="143381" bIns="89614" anchor="t" anchorCtr="0"/>
          <a:lstStyle>
            <a:lvl1pPr>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3"/>
            <a:ext cx="6276530" cy="1789991"/>
          </a:xfrm>
          <a:noFill/>
        </p:spPr>
        <p:txBody>
          <a:bodyPr tIns="107536" bIns="107536">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49322" y="471128"/>
            <a:ext cx="1522404" cy="326166"/>
          </a:xfrm>
          <a:prstGeom prst="rect">
            <a:avLst/>
          </a:prstGeom>
        </p:spPr>
      </p:pic>
    </p:spTree>
    <p:extLst>
      <p:ext uri="{BB962C8B-B14F-4D97-AF65-F5344CB8AC3E}">
        <p14:creationId xmlns:p14="http://schemas.microsoft.com/office/powerpoint/2010/main" val="1354120998"/>
      </p:ext>
    </p:extLst>
  </p:cSld>
  <p:clrMapOvr>
    <a:masterClrMapping/>
  </p:clrMapOvr>
  <p:transition spd="slow">
    <p:push/>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 y="3"/>
            <a:ext cx="12194511" cy="6857999"/>
          </a:xfrm>
          <a:prstGeom prst="rect">
            <a:avLst/>
          </a:prstGeom>
        </p:spPr>
      </p:pic>
      <p:sp>
        <p:nvSpPr>
          <p:cNvPr id="17" name="Rectangle 16"/>
          <p:cNvSpPr/>
          <p:nvPr userDrawn="1"/>
        </p:nvSpPr>
        <p:spPr bwMode="gray">
          <a:xfrm>
            <a:off x="269242"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6" y="2082468"/>
            <a:ext cx="7172955" cy="1794808"/>
          </a:xfrm>
          <a:noFill/>
        </p:spPr>
        <p:txBody>
          <a:bodyPr lIns="143381" tIns="89614" rIns="143381" bIns="89614" anchor="t" anchorCtr="0"/>
          <a:lstStyle>
            <a:lvl1pPr>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6" y="3880393"/>
            <a:ext cx="7172955" cy="1789991"/>
          </a:xfrm>
        </p:spPr>
        <p:txBody>
          <a:bodyPr tIns="107536" bIns="107536">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49322" y="471128"/>
            <a:ext cx="1522404" cy="326166"/>
          </a:xfrm>
          <a:prstGeom prst="rect">
            <a:avLst/>
          </a:prstGeom>
        </p:spPr>
      </p:pic>
    </p:spTree>
    <p:extLst>
      <p:ext uri="{BB962C8B-B14F-4D97-AF65-F5344CB8AC3E}">
        <p14:creationId xmlns:p14="http://schemas.microsoft.com/office/powerpoint/2010/main" val="4078361481"/>
      </p:ext>
    </p:extLst>
  </p:cSld>
  <p:clrMapOvr>
    <a:masterClrMapping/>
  </p:clrMapOvr>
  <p:transition spd="slow">
    <p:push/>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t="13312" r="17641" b="16929"/>
          <a:stretch/>
        </p:blipFill>
        <p:spPr>
          <a:xfrm>
            <a:off x="0" y="3"/>
            <a:ext cx="12192000" cy="6857999"/>
          </a:xfrm>
          <a:prstGeom prst="rect">
            <a:avLst/>
          </a:prstGeom>
        </p:spPr>
      </p:pic>
      <p:sp>
        <p:nvSpPr>
          <p:cNvPr id="17" name="Rectangle 16"/>
          <p:cNvSpPr/>
          <p:nvPr userDrawn="1"/>
        </p:nvSpPr>
        <p:spPr bwMode="gray">
          <a:xfrm>
            <a:off x="269242"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6" y="2082468"/>
            <a:ext cx="7172955" cy="1794808"/>
          </a:xfrm>
          <a:noFill/>
        </p:spPr>
        <p:txBody>
          <a:bodyPr lIns="143381" tIns="89614" rIns="143381" bIns="89614" anchor="t" anchorCtr="0"/>
          <a:lstStyle>
            <a:lvl1pPr>
              <a:defRPr sz="53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6" y="3869494"/>
            <a:ext cx="7172955" cy="1793104"/>
          </a:xfrm>
          <a:noFill/>
        </p:spPr>
        <p:txBody>
          <a:bodyPr tIns="107536" bIns="107536">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999374966"/>
      </p:ext>
    </p:extLst>
  </p:cSld>
  <p:clrMapOvr>
    <a:masterClrMapping/>
  </p:clrMapOvr>
  <p:transition spd="slow">
    <p:push/>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l="3333" t="3333" r="4875" b="4875"/>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4"/>
            <a:ext cx="6276530" cy="1793105"/>
          </a:xfrm>
          <a:noFill/>
        </p:spPr>
        <p:txBody>
          <a:bodyPr vert="horz" wrap="square" lIns="143381" tIns="89614" rIns="143381" bIns="89614" rtlCol="0" anchor="t" anchorCtr="0">
            <a:noAutofit/>
          </a:bodyPr>
          <a:lstStyle>
            <a:lvl1pPr>
              <a:defRPr lang="en-US" sz="5900"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7536" bIns="107536">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188468324"/>
      </p:ext>
    </p:extLst>
  </p:cSld>
  <p:clrMapOvr>
    <a:masterClrMapping/>
  </p:clrMapOvr>
  <p:transition spd="slow">
    <p:push/>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9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p:cNvSpPr/>
          <p:nvPr userDrawn="1"/>
        </p:nvSpPr>
        <p:spPr bwMode="gray">
          <a:xfrm>
            <a:off x="269305" y="2084186"/>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42" y="2084172"/>
            <a:ext cx="7171399" cy="2689656"/>
          </a:xfrm>
          <a:noFill/>
        </p:spPr>
        <p:txBody>
          <a:bodyPr lIns="143381" tIns="89614" rIns="143381" bIns="89614"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43" y="4772271"/>
            <a:ext cx="7171399" cy="1794661"/>
          </a:xfrm>
          <a:noFill/>
        </p:spPr>
        <p:txBody>
          <a:bodyPr lIns="143381" tIns="107536" rIns="143381" bIns="107536">
            <a:noAutofit/>
          </a:bodyPr>
          <a:lstStyle>
            <a:lvl1pPr marL="0" indent="0">
              <a:spcBef>
                <a:spcPts val="0"/>
              </a:spcBef>
              <a:buNone/>
              <a:defRPr sz="31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371419974"/>
      </p:ext>
    </p:extLst>
  </p:cSld>
  <p:clrMapOvr>
    <a:masterClrMapping/>
  </p:clrMapOvr>
  <p:transition spd="slow">
    <p:push/>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42133082"/>
      </p:ext>
    </p:extLst>
  </p:cSld>
  <p:clrMapOvr>
    <a:masterClrMapping/>
  </p:clrMapOvr>
  <p:transition spd="slow">
    <p:push/>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for internal audiences">
    <p:spTree>
      <p:nvGrpSpPr>
        <p:cNvPr id="1" name=""/>
        <p:cNvGrpSpPr/>
        <p:nvPr/>
      </p:nvGrpSpPr>
      <p:grpSpPr>
        <a:xfrm>
          <a:off x="0" y="0"/>
          <a:ext cx="0" cy="0"/>
          <a:chOff x="0" y="0"/>
          <a:chExt cx="0" cy="0"/>
        </a:xfrm>
      </p:grpSpPr>
      <p:sp>
        <p:nvSpPr>
          <p:cNvPr id="18" name="Rectangle 17"/>
          <p:cNvSpPr/>
          <p:nvPr/>
        </p:nvSpPr>
        <p:spPr bwMode="auto">
          <a:xfrm>
            <a:off x="269240" y="2084172"/>
            <a:ext cx="8964248" cy="3586208"/>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795" y="2084173"/>
            <a:ext cx="8962692"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7200" y="470412"/>
            <a:ext cx="1522404" cy="326166"/>
          </a:xfrm>
          <a:prstGeom prst="rect">
            <a:avLst/>
          </a:prstGeom>
        </p:spPr>
      </p:pic>
      <p:sp>
        <p:nvSpPr>
          <p:cNvPr id="5" name="Text Placeholder 4"/>
          <p:cNvSpPr>
            <a:spLocks noGrp="1"/>
          </p:cNvSpPr>
          <p:nvPr>
            <p:ph type="body" sz="quarter" idx="12" hasCustomPrompt="1"/>
          </p:nvPr>
        </p:nvSpPr>
        <p:spPr>
          <a:xfrm>
            <a:off x="269240" y="3877272"/>
            <a:ext cx="8964248" cy="1792326"/>
          </a:xfrm>
          <a:noFill/>
        </p:spPr>
        <p:txBody>
          <a:bodyPr lIns="146304" tIns="109728" rIns="146304" bIns="109728">
            <a:noAutofit/>
          </a:bodyPr>
          <a:lstStyle>
            <a:lvl1pPr marL="0" indent="0">
              <a:spcBef>
                <a:spcPts val="0"/>
              </a:spcBef>
              <a:buNone/>
              <a:defRPr sz="3530" spc="0" baseline="0">
                <a:gradFill>
                  <a:gsLst>
                    <a:gs pos="4583">
                      <a:srgbClr val="FFFFFF"/>
                    </a:gs>
                    <a:gs pos="84000">
                      <a:srgbClr val="FFFFFF"/>
                    </a:gs>
                  </a:gsLst>
                  <a:lin ang="5400000" scaled="0"/>
                </a:gradFill>
                <a:latin typeface="+mj-lt"/>
              </a:defRPr>
            </a:lvl1pPr>
          </a:lstStyle>
          <a:p>
            <a:pPr lvl="0"/>
            <a:r>
              <a:rPr lang="en-US" dirty="0" smtClean="0"/>
              <a:t>Speaker Name</a:t>
            </a:r>
          </a:p>
        </p:txBody>
      </p:sp>
      <p:grpSp>
        <p:nvGrpSpPr>
          <p:cNvPr id="14" name="Group 13"/>
          <p:cNvGrpSpPr/>
          <p:nvPr/>
        </p:nvGrpSpPr>
        <p:grpSpPr>
          <a:xfrm>
            <a:off x="1" y="6447969"/>
            <a:ext cx="12191999" cy="410030"/>
            <a:chOff x="274603" y="6576332"/>
            <a:chExt cx="11886441" cy="274320"/>
          </a:xfrm>
        </p:grpSpPr>
        <p:sp>
          <p:nvSpPr>
            <p:cNvPr id="15"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00" spc="0">
                  <a:solidFill>
                    <a:srgbClr val="FFFFFF"/>
                  </a:solidFill>
                </a:rPr>
                <a:t>Technical Evangelism &amp; Development Team</a:t>
              </a:r>
            </a:p>
          </p:txBody>
        </p:sp>
        <p:sp>
          <p:nvSpPr>
            <p:cNvPr id="16"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X</a:t>
              </a:r>
            </a:p>
          </p:txBody>
        </p:sp>
      </p:grpSp>
    </p:spTree>
    <p:extLst>
      <p:ext uri="{BB962C8B-B14F-4D97-AF65-F5344CB8AC3E}">
        <p14:creationId xmlns:p14="http://schemas.microsoft.com/office/powerpoint/2010/main" val="3042045412"/>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95829325"/>
      </p:ext>
    </p:extLst>
  </p:cSld>
  <p:clrMapOvr>
    <a:masterClrMapping/>
  </p:clrMapOvr>
  <p:transition spd="slow">
    <p:push/>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49964697"/>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30066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8937340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2007683"/>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4" indent="0">
              <a:buNone/>
              <a:defRPr/>
            </a:lvl3pPr>
            <a:lvl4pPr marL="448067" indent="0">
              <a:buNone/>
              <a:defRPr/>
            </a:lvl4pPr>
            <a:lvl5pPr marL="67210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1501985"/>
      </p:ext>
    </p:extLst>
  </p:cSld>
  <p:clrMapOvr>
    <a:masterClrMapping/>
  </p:clrMapOvr>
  <p:transition spd="slow">
    <p:push/>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2007683"/>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4" indent="0">
              <a:buNone/>
              <a:defRPr/>
            </a:lvl3pPr>
            <a:lvl4pPr marL="448067" indent="0">
              <a:buNone/>
              <a:defRPr/>
            </a:lvl4pPr>
            <a:lvl5pPr marL="67210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8831730"/>
      </p:ext>
    </p:extLst>
  </p:cSld>
  <p:clrMapOvr>
    <a:masterClrMapping/>
  </p:clrMapOvr>
  <p:transition spd="slow">
    <p:push/>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7539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46637392"/>
      </p:ext>
    </p:extLst>
  </p:cSld>
  <p:clrMapOvr>
    <a:masterClrMapping/>
  </p:clrMapOvr>
  <p:transition spd="slow">
    <p:push/>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75394"/>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0415792"/>
      </p:ext>
    </p:extLst>
  </p:cSld>
  <p:clrMapOvr>
    <a:masterClrMapping/>
  </p:clrMapOvr>
  <p:transition spd="slow">
    <p:push/>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420188"/>
          </a:xfrm>
        </p:spPr>
        <p:txBody>
          <a:bodyPr wrap="square">
            <a:spAutoFit/>
          </a:bodyPr>
          <a:lstStyle>
            <a:lvl1pPr marL="0" indent="0">
              <a:spcBef>
                <a:spcPts val="1200"/>
              </a:spcBef>
              <a:buClr>
                <a:schemeClr val="tx1"/>
              </a:buClr>
              <a:buFont typeface="Wingdings" pitchFamily="2" charset="2"/>
              <a:buNone/>
              <a:defRPr sz="3500">
                <a:gradFill>
                  <a:gsLst>
                    <a:gs pos="1250">
                      <a:schemeClr val="tx2"/>
                    </a:gs>
                    <a:gs pos="99000">
                      <a:schemeClr val="tx2"/>
                    </a:gs>
                  </a:gsLst>
                  <a:lin ang="5400000" scaled="0"/>
                </a:gradFill>
              </a:defRPr>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00">
                <a:gradFill>
                  <a:gsLst>
                    <a:gs pos="1250">
                      <a:schemeClr val="tx2"/>
                    </a:gs>
                    <a:gs pos="99000">
                      <a:schemeClr val="tx2"/>
                    </a:gs>
                  </a:gsLst>
                  <a:lin ang="5400000" scaled="0"/>
                </a:gradFill>
              </a:defRPr>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0316986"/>
      </p:ext>
    </p:extLst>
  </p:cSld>
  <p:clrMapOvr>
    <a:masterClrMapping/>
  </p:clrMapOvr>
  <p:transition spd="slow">
    <p:push/>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4089398"/>
      </p:ext>
    </p:extLst>
  </p:cSld>
  <p:clrMapOvr>
    <a:masterClrMapping/>
  </p:clrMapOvr>
  <p:transition spd="slow">
    <p:push/>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191999" cy="899665"/>
          </a:xfrm>
          <a:solidFill>
            <a:srgbClr val="00188F"/>
          </a:solidFill>
        </p:spPr>
        <p:txBody>
          <a:bodyPr/>
          <a:lstStyle>
            <a:lvl1pPr>
              <a:defRPr>
                <a:solidFill>
                  <a:schemeClr val="bg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20" indent="0">
              <a:buNone/>
              <a:defRPr/>
            </a:lvl3pPr>
            <a:lvl4pPr marL="448239" indent="0">
              <a:buNone/>
              <a:defRPr/>
            </a:lvl4pPr>
            <a:lvl5pPr marL="672359"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3" name="Group 12"/>
          <p:cNvGrpSpPr/>
          <p:nvPr/>
        </p:nvGrpSpPr>
        <p:grpSpPr>
          <a:xfrm>
            <a:off x="269240" y="6447969"/>
            <a:ext cx="11654266" cy="268966"/>
            <a:chOff x="274603" y="6576332"/>
            <a:chExt cx="11886441" cy="274320"/>
          </a:xfrm>
        </p:grpSpPr>
        <p:sp>
          <p:nvSpPr>
            <p:cNvPr id="14"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569" spc="0">
                  <a:solidFill>
                    <a:srgbClr val="FFFFFF"/>
                  </a:solidFill>
                </a:rPr>
                <a:t>Partner Evangelism Team</a:t>
              </a:r>
            </a:p>
          </p:txBody>
        </p:sp>
        <p:sp>
          <p:nvSpPr>
            <p:cNvPr id="15"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PE</a:t>
              </a:r>
            </a:p>
          </p:txBody>
        </p:sp>
      </p:grpSp>
      <p:grpSp>
        <p:nvGrpSpPr>
          <p:cNvPr id="16" name="Group 15"/>
          <p:cNvGrpSpPr/>
          <p:nvPr/>
        </p:nvGrpSpPr>
        <p:grpSpPr>
          <a:xfrm>
            <a:off x="1" y="6447969"/>
            <a:ext cx="12191999" cy="410030"/>
            <a:chOff x="274603" y="6576332"/>
            <a:chExt cx="11886441" cy="274320"/>
          </a:xfrm>
        </p:grpSpPr>
        <p:sp>
          <p:nvSpPr>
            <p:cNvPr id="17"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67" spc="0">
                  <a:solidFill>
                    <a:srgbClr val="FFFFFF"/>
                  </a:solidFill>
                </a:rPr>
                <a:t>Technical Evangelism &amp; Development Team</a:t>
              </a:r>
            </a:p>
          </p:txBody>
        </p:sp>
        <p:sp>
          <p:nvSpPr>
            <p:cNvPr id="18"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Tree>
    <p:extLst>
      <p:ext uri="{BB962C8B-B14F-4D97-AF65-F5344CB8AC3E}">
        <p14:creationId xmlns:p14="http://schemas.microsoft.com/office/powerpoint/2010/main" val="1680647492"/>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281599" indent="-281599">
              <a:spcBef>
                <a:spcPts val="1200"/>
              </a:spcBef>
              <a:buClr>
                <a:schemeClr val="tx1"/>
              </a:buClr>
              <a:buFont typeface="Arial" pitchFamily="34" charset="0"/>
              <a:buChar char="•"/>
              <a:defRPr sz="3500"/>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9"/>
            <a:ext cx="5378548" cy="2486578"/>
          </a:xfrm>
        </p:spPr>
        <p:txBody>
          <a:bodyPr wrap="square">
            <a:spAutoFit/>
          </a:bodyPr>
          <a:lstStyle>
            <a:lvl1pPr marL="281599" indent="-281599">
              <a:spcBef>
                <a:spcPts val="1200"/>
              </a:spcBef>
              <a:buClr>
                <a:schemeClr val="tx1"/>
              </a:buClr>
              <a:buFont typeface="Arial" pitchFamily="34" charset="0"/>
              <a:buChar char="•"/>
              <a:defRPr sz="3500"/>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9319744"/>
      </p:ext>
    </p:extLst>
  </p:cSld>
  <p:clrMapOvr>
    <a:masterClrMapping/>
  </p:clrMapOvr>
  <p:transition spd="slow">
    <p:push/>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281599" indent="-281599">
              <a:spcBef>
                <a:spcPts val="1200"/>
              </a:spcBef>
              <a:buClr>
                <a:schemeClr val="tx2"/>
              </a:buClr>
              <a:buFont typeface="Arial" pitchFamily="34" charset="0"/>
              <a:buChar char="•"/>
              <a:defRPr sz="3500">
                <a:gradFill>
                  <a:gsLst>
                    <a:gs pos="1250">
                      <a:schemeClr val="tx2"/>
                    </a:gs>
                    <a:gs pos="99000">
                      <a:schemeClr val="tx2"/>
                    </a:gs>
                  </a:gsLst>
                  <a:lin ang="5400000" scaled="0"/>
                </a:gradFill>
              </a:defRPr>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9"/>
            <a:ext cx="5378548" cy="2486578"/>
          </a:xfrm>
        </p:spPr>
        <p:txBody>
          <a:bodyPr wrap="square">
            <a:spAutoFit/>
          </a:bodyPr>
          <a:lstStyle>
            <a:lvl1pPr marL="281599" indent="-281599">
              <a:spcBef>
                <a:spcPts val="1200"/>
              </a:spcBef>
              <a:buClr>
                <a:schemeClr val="tx2"/>
              </a:buClr>
              <a:buFont typeface="Arial" pitchFamily="34" charset="0"/>
              <a:buChar char="•"/>
              <a:defRPr sz="3500">
                <a:gradFill>
                  <a:gsLst>
                    <a:gs pos="1250">
                      <a:schemeClr val="tx2"/>
                    </a:gs>
                    <a:gs pos="99000">
                      <a:schemeClr val="tx2"/>
                    </a:gs>
                  </a:gsLst>
                  <a:lin ang="5400000" scaled="0"/>
                </a:gradFill>
              </a:defRPr>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88353554"/>
      </p:ext>
    </p:extLst>
  </p:cSld>
  <p:clrMapOvr>
    <a:masterClrMapping/>
  </p:clrMapOvr>
  <p:transition spd="slow">
    <p:push/>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05019834"/>
      </p:ext>
    </p:extLst>
  </p:cSld>
  <p:clrMapOvr>
    <a:masterClrMapping/>
  </p:clrMapOvr>
  <p:transition spd="slow">
    <p:push/>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291786"/>
      </p:ext>
    </p:extLst>
  </p:cSld>
  <p:clrMapOvr>
    <a:masterClrMapping/>
  </p:clrMapOvr>
  <p:transition spd="slow">
    <p:push/>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47221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7837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656925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noAutofit/>
          </a:bodyPr>
          <a:lstStyle/>
          <a:p>
            <a:pPr algn="ctr" defTabSz="913844"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78444"/>
          </a:xfrm>
        </p:spPr>
        <p:txBody>
          <a:bodyPr/>
          <a:lstStyle>
            <a:lvl1pPr marL="0" indent="0">
              <a:buNone/>
              <a:defRPr sz="3200">
                <a:gradFill>
                  <a:gsLst>
                    <a:gs pos="1250">
                      <a:srgbClr val="000000"/>
                    </a:gs>
                    <a:gs pos="100000">
                      <a:srgbClr val="000000"/>
                    </a:gs>
                  </a:gsLst>
                  <a:lin ang="5400000" scaled="0"/>
                </a:gradFill>
                <a:latin typeface="Segoe UI" pitchFamily="34" charset="0"/>
                <a:cs typeface="Segoe UI" pitchFamily="34" charset="0"/>
              </a:defRPr>
            </a:lvl1pPr>
            <a:lvl2pPr marL="33963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8"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1"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1"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6125727"/>
      </p:ext>
    </p:extLst>
  </p:cSld>
  <p:clrMapOvr>
    <a:masterClrMapping/>
  </p:clrMapOvr>
  <p:transition spd="slow">
    <p:push/>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710" indent="-28471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5" indent="-275376">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3" indent="-28471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8" indent="-2240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61" indent="-2240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2351" tIns="76177" rIns="152351" bIns="7617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483383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2839305"/>
      </p:ext>
    </p:extLst>
  </p:cSld>
  <p:clrMapOvr>
    <a:masterClrMapping/>
  </p:clrMapOvr>
  <p:transition spd="slow">
    <p:push/>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80" tIns="146304" rIns="182880" bIns="146304">
            <a:noAutofit/>
          </a:bodyPr>
          <a:lstStyle>
            <a:lvl1pPr marL="0" indent="0">
              <a:spcBef>
                <a:spcPts val="0"/>
              </a:spcBef>
              <a:buNone/>
              <a:defRPr sz="35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31287370"/>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bwMode="white">
          <a:xfrm>
            <a:off x="736791" y="4869734"/>
            <a:ext cx="10477054" cy="461665"/>
          </a:xfrm>
        </p:spPr>
        <p:txBody>
          <a:bodyPr>
            <a:noAutofit/>
          </a:bodyPr>
          <a:lstStyle>
            <a:lvl1pPr marL="0" indent="0" algn="l">
              <a:lnSpc>
                <a:spcPct val="90000"/>
              </a:lnSpc>
              <a:spcBef>
                <a:spcPts val="0"/>
              </a:spcBef>
              <a:buNone/>
              <a:defRPr lang="en-US" sz="3627" kern="1200" spc="-70" baseline="0" dirty="0">
                <a:solidFill>
                  <a:srgbClr val="FFFFFF"/>
                </a:solidFill>
                <a:latin typeface="+mj-lt"/>
                <a:ea typeface="+mn-ea"/>
                <a:cs typeface="+mn-cs"/>
              </a:defRPr>
            </a:lvl1pPr>
            <a:lvl2pPr marL="457183" indent="0" algn="ctr">
              <a:buNone/>
              <a:defRPr>
                <a:solidFill>
                  <a:schemeClr val="tx1">
                    <a:tint val="75000"/>
                  </a:schemeClr>
                </a:solidFill>
              </a:defRPr>
            </a:lvl2pPr>
            <a:lvl3pPr marL="914367" indent="0" algn="ctr">
              <a:buNone/>
              <a:defRPr>
                <a:solidFill>
                  <a:schemeClr val="tx1">
                    <a:tint val="75000"/>
                  </a:schemeClr>
                </a:solidFill>
              </a:defRPr>
            </a:lvl3pPr>
            <a:lvl4pPr marL="1371550" indent="0" algn="ctr">
              <a:buNone/>
              <a:defRPr>
                <a:solidFill>
                  <a:schemeClr val="tx1">
                    <a:tint val="75000"/>
                  </a:schemeClr>
                </a:solidFill>
              </a:defRPr>
            </a:lvl4pPr>
            <a:lvl5pPr marL="1828734" indent="0" algn="ctr">
              <a:buNone/>
              <a:defRPr>
                <a:solidFill>
                  <a:schemeClr val="tx1">
                    <a:tint val="75000"/>
                  </a:schemeClr>
                </a:solidFill>
              </a:defRPr>
            </a:lvl5pPr>
            <a:lvl6pPr marL="2285918" indent="0" algn="ctr">
              <a:buNone/>
              <a:defRPr>
                <a:solidFill>
                  <a:schemeClr val="tx1">
                    <a:tint val="75000"/>
                  </a:schemeClr>
                </a:solidFill>
              </a:defRPr>
            </a:lvl6pPr>
            <a:lvl7pPr marL="2743101" indent="0" algn="ctr">
              <a:buNone/>
              <a:defRPr>
                <a:solidFill>
                  <a:schemeClr val="tx1">
                    <a:tint val="75000"/>
                  </a:schemeClr>
                </a:solidFill>
              </a:defRPr>
            </a:lvl7pPr>
            <a:lvl8pPr marL="3200284" indent="0" algn="ctr">
              <a:buNone/>
              <a:defRPr>
                <a:solidFill>
                  <a:schemeClr val="tx1">
                    <a:tint val="75000"/>
                  </a:schemeClr>
                </a:solidFill>
              </a:defRPr>
            </a:lvl8pPr>
            <a:lvl9pPr marL="3657469" indent="0" algn="ctr">
              <a:buNone/>
              <a:defRPr>
                <a:solidFill>
                  <a:schemeClr val="tx1">
                    <a:tint val="75000"/>
                  </a:schemeClr>
                </a:solidFill>
              </a:defRPr>
            </a:lvl9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bwMode="white">
          <a:xfrm>
            <a:off x="449567" y="407184"/>
            <a:ext cx="10801652" cy="1202161"/>
          </a:xfrm>
        </p:spPr>
        <p:txBody>
          <a:bodyPr anchor="t"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7" b="0" kern="1200" cap="none" spc="-400" baseline="0" dirty="0" smtClean="0">
                <a:ln w="3175">
                  <a:noFill/>
                </a:ln>
                <a:gradFill>
                  <a:gsLst>
                    <a:gs pos="100000">
                      <a:srgbClr val="8CC600"/>
                    </a:gs>
                    <a:gs pos="0">
                      <a:srgbClr val="8CC600"/>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bwMode="white">
          <a:xfrm>
            <a:off x="736012" y="3122377"/>
            <a:ext cx="10477936" cy="914096"/>
          </a:xfrm>
        </p:spPr>
        <p:txBody>
          <a:bodyPr wrap="square" anchor="t">
            <a:noAutofit/>
          </a:bodyPr>
          <a:lstStyle>
            <a:lvl1pPr marL="0" indent="0">
              <a:buNone/>
              <a:defRPr sz="6568" spc="-150"/>
            </a:lvl1pPr>
          </a:lstStyle>
          <a:p>
            <a:pPr lvl="0"/>
            <a:r>
              <a:rPr lang="en-US" smtClean="0"/>
              <a:t>Click to edit Master text styles</a:t>
            </a:r>
          </a:p>
        </p:txBody>
      </p:sp>
    </p:spTree>
    <p:extLst>
      <p:ext uri="{BB962C8B-B14F-4D97-AF65-F5344CB8AC3E}">
        <p14:creationId xmlns:p14="http://schemas.microsoft.com/office/powerpoint/2010/main" val="1688369921"/>
      </p:ext>
    </p:extLst>
  </p:cSld>
  <p:clrMapOvr>
    <a:masterClrMapping/>
  </p:clrMapOvr>
  <p:transition spd="slow">
    <p:push/>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Tree>
    <p:extLst>
      <p:ext uri="{BB962C8B-B14F-4D97-AF65-F5344CB8AC3E}">
        <p14:creationId xmlns:p14="http://schemas.microsoft.com/office/powerpoint/2010/main" val="383078580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8610600" y="6356350"/>
            <a:ext cx="2743200" cy="365125"/>
          </a:xfrm>
          <a:prstGeom prst="rect">
            <a:avLst/>
          </a:prstGeom>
        </p:spPr>
        <p:txBody>
          <a:bodyPr/>
          <a:lstStyle/>
          <a:p>
            <a:pPr defTabSz="914225"/>
            <a:fld id="{4CED8391-71CF-4FD3-A093-40D26DE2D47C}" type="slidenum">
              <a:rPr lang="en-US" smtClean="0">
                <a:solidFill>
                  <a:srgbClr val="00188F"/>
                </a:solidFill>
              </a:rPr>
              <a:pPr defTabSz="914225"/>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384175" y="1181109"/>
            <a:ext cx="11234738" cy="1834338"/>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748027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001">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1" y="573605"/>
            <a:ext cx="11510053" cy="373063"/>
          </a:xfrm>
          <a:prstGeom prst="rect">
            <a:avLst/>
          </a:prstGeom>
          <a:noFill/>
        </p:spPr>
        <p:txBody>
          <a:bodyPr lIns="380893" tIns="53325" rIns="53325" bIns="53325">
            <a:noAutofit/>
          </a:bodyPr>
          <a:lstStyle>
            <a:lvl1pPr marL="0" indent="0">
              <a:buNone/>
              <a:defRPr sz="20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9" name="8 Título"/>
          <p:cNvSpPr>
            <a:spLocks noGrp="1"/>
          </p:cNvSpPr>
          <p:nvPr>
            <p:ph type="title" hasCustomPrompt="1"/>
          </p:nvPr>
        </p:nvSpPr>
        <p:spPr>
          <a:xfrm>
            <a:off x="1" y="2"/>
            <a:ext cx="11510053" cy="646042"/>
          </a:xfrm>
        </p:spPr>
        <p:txBody>
          <a:bodyPr>
            <a:normAutofit/>
          </a:bodyPr>
          <a:lstStyle>
            <a:lvl1pPr>
              <a:defRPr sz="4000">
                <a:solidFill>
                  <a:schemeClr val="tx1"/>
                </a:solidFill>
                <a:latin typeface="Segoe UI Light" panose="020B0502040204020203" pitchFamily="34" charset="0"/>
                <a:cs typeface="Segoe UI Light" panose="020B0502040204020203" pitchFamily="34" charset="0"/>
              </a:defRPr>
            </a:lvl1pPr>
          </a:lstStyle>
          <a:p>
            <a:r>
              <a:rPr lang="es-ES" dirty="0" smtClean="0"/>
              <a:t>Click to add title</a:t>
            </a:r>
            <a:endParaRPr lang="es-AR" dirty="0"/>
          </a:p>
        </p:txBody>
      </p:sp>
    </p:spTree>
    <p:extLst>
      <p:ext uri="{BB962C8B-B14F-4D97-AF65-F5344CB8AC3E}">
        <p14:creationId xmlns:p14="http://schemas.microsoft.com/office/powerpoint/2010/main" val="138281797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5" name="Rectangle 4"/>
          <p:cNvSpPr/>
          <p:nvPr userDrawn="1"/>
        </p:nvSpPr>
        <p:spPr bwMode="auto">
          <a:xfrm>
            <a:off x="1" y="0"/>
            <a:ext cx="12192000" cy="6858000"/>
          </a:xfrm>
          <a:prstGeom prst="rect">
            <a:avLst/>
          </a:prstGeom>
          <a:gradFill>
            <a:gsLst>
              <a:gs pos="0">
                <a:srgbClr val="000608"/>
              </a:gs>
              <a:gs pos="50000">
                <a:srgbClr val="005F70"/>
              </a:gs>
              <a:gs pos="100000">
                <a:srgbClr val="000608"/>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3" name="Title 2"/>
          <p:cNvSpPr>
            <a:spLocks noGrp="1"/>
          </p:cNvSpPr>
          <p:nvPr>
            <p:ph type="title"/>
          </p:nvPr>
        </p:nvSpPr>
        <p:spPr>
          <a:xfrm>
            <a:off x="0" y="0"/>
            <a:ext cx="12041150" cy="812800"/>
          </a:xfrm>
          <a:noFill/>
        </p:spPr>
        <p:txBody>
          <a:bodyPr lIns="182880" anchor="ctr" anchorCtr="0">
            <a:noAutofit/>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8867189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0725"/>
            <a:ext cx="11155093" cy="1172373"/>
          </a:xfrm>
        </p:spPr>
        <p:txBody>
          <a:bodyPr anchor="b" anchorCtr="0">
            <a:spAutoFit/>
          </a:bodyPr>
          <a:lstStyle>
            <a:lvl1pPr>
              <a:defRPr sz="7058" spc="-150"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9" y="4773829"/>
            <a:ext cx="11155093" cy="724246"/>
          </a:xfrm>
        </p:spPr>
        <p:txBody>
          <a:bodyPr>
            <a:spAutoFit/>
          </a:bodyPr>
          <a:lstStyle>
            <a:lvl1pPr marL="0" indent="0">
              <a:spcBef>
                <a:spcPts val="0"/>
              </a:spcBef>
              <a:buNone/>
              <a:defRPr sz="3137" spc="-70"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273652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1250"/>
            <a:ext cx="11155093" cy="1172373"/>
          </a:xfrm>
        </p:spPr>
        <p:txBody>
          <a:bodyPr anchor="b" anchorCtr="0">
            <a:spAutoFit/>
          </a:bodyPr>
          <a:lstStyle>
            <a:lvl1pPr>
              <a:defRPr sz="7058" spc="-150"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8" y="4773829"/>
            <a:ext cx="11155093" cy="724246"/>
          </a:xfrm>
        </p:spPr>
        <p:txBody>
          <a:bodyPr>
            <a:spAutoFit/>
          </a:bodyPr>
          <a:lstStyle>
            <a:lvl1pPr marL="0" indent="0">
              <a:spcBef>
                <a:spcPts val="0"/>
              </a:spcBef>
              <a:buNone/>
              <a:defRPr sz="3137" spc="-70"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64045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4">
    <p:bg>
      <p:bgPr>
        <a:solidFill>
          <a:srgbClr val="FFFFFF"/>
        </a:solidFill>
        <a:effectLst/>
      </p:bgPr>
    </p:bg>
    <p:spTree>
      <p:nvGrpSpPr>
        <p:cNvPr id="1" name=""/>
        <p:cNvGrpSpPr/>
        <p:nvPr/>
      </p:nvGrpSpPr>
      <p:grpSpPr>
        <a:xfrm>
          <a:off x="0" y="0"/>
          <a:ext cx="0" cy="0"/>
          <a:chOff x="0" y="0"/>
          <a:chExt cx="0" cy="0"/>
        </a:xfrm>
      </p:grpSpPr>
      <p:sp useBgFill="1">
        <p:nvSpPr>
          <p:cNvPr id="10" name="Freeform 6"/>
          <p:cNvSpPr>
            <a:spLocks noChangeAspect="1" noEditPoints="1"/>
          </p:cNvSpPr>
          <p:nvPr userDrawn="1"/>
        </p:nvSpPr>
        <p:spPr bwMode="auto">
          <a:xfrm>
            <a:off x="-1" y="-1"/>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 name="Title 1"/>
          <p:cNvSpPr>
            <a:spLocks noGrp="1"/>
          </p:cNvSpPr>
          <p:nvPr>
            <p:ph type="title" hasCustomPrompt="1"/>
          </p:nvPr>
        </p:nvSpPr>
        <p:spPr>
          <a:xfrm>
            <a:off x="5647788" y="1187621"/>
            <a:ext cx="6274974" cy="2136525"/>
          </a:xfrm>
        </p:spPr>
        <p:txBody>
          <a:bodyPr vert="horz" wrap="square" lIns="146304" tIns="91440" rIns="146304" bIns="91440" rtlCol="0" anchor="t" anchorCtr="0">
            <a:spAutoFit/>
          </a:bodyPr>
          <a:lstStyle>
            <a:lvl1pPr>
              <a:defRPr lang="en-US" sz="7058" spc="-150" dirty="0">
                <a:gradFill>
                  <a:gsLst>
                    <a:gs pos="14583">
                      <a:schemeClr val="accent1"/>
                    </a:gs>
                    <a:gs pos="43000">
                      <a:schemeClr val="accent1"/>
                    </a:gs>
                  </a:gsLst>
                  <a:lin ang="5400000" scaled="0"/>
                </a:gradFill>
              </a:defRPr>
            </a:lvl1pPr>
          </a:lstStyle>
          <a:p>
            <a:pPr lvl="0"/>
            <a:r>
              <a:rPr lang="en-US" dirty="0" smtClean="0"/>
              <a:t>Click to edit title style</a:t>
            </a:r>
            <a:endParaRPr lang="en-US" dirty="0"/>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824365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12192000" cy="6858000"/>
          </a:xfrm>
          <a:prstGeom prst="rect">
            <a:avLst/>
          </a:prstGeom>
          <a:noFill/>
        </p:spPr>
        <p:txBody>
          <a:bodyPr lIns="279834" tIns="279834" rIns="279834">
            <a:noAutofit/>
          </a:bodyPr>
          <a:lstStyle>
            <a:lvl1pPr marL="0" indent="0">
              <a:buNone/>
              <a:defRPr sz="2353"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p:nvPr>
        </p:nvSpPr>
        <p:spPr bwMode="ltGray">
          <a:xfrm>
            <a:off x="270993" y="919956"/>
            <a:ext cx="5025066" cy="501808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6473" tIns="886140" rIns="1259252" bIns="886140" numCol="1" anchor="ctr" anchorCtr="0" compatLnSpc="1">
            <a:prstTxWarp prst="textNoShape">
              <a:avLst/>
            </a:prstTxWarp>
            <a:noAutofit/>
          </a:bodyPr>
          <a:lstStyle>
            <a:lvl1pPr algn="l">
              <a:defRPr lang="en-US" sz="5882" b="0" kern="1200" cap="none" spc="-200"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14403"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444835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270993" y="922639"/>
            <a:ext cx="5025066" cy="5015405"/>
          </a:xfrm>
          <a:prstGeom prst="rect">
            <a:avLst/>
          </a:prstGeom>
          <a:noFill/>
          <a:ln>
            <a:noFill/>
          </a:ln>
          <a:extLst/>
        </p:spPr>
        <p:txBody>
          <a:bodyPr vert="horz" wrap="square" lIns="326473" tIns="886140" rIns="1259252" bIns="886140" numCol="1" rtlCol="0" anchor="ctr" anchorCtr="0" compatLnSpc="1">
            <a:prstTxWarp prst="textNoShape">
              <a:avLst/>
            </a:prstTxWarp>
            <a:noAutofit/>
          </a:bodyPr>
          <a:lstStyle>
            <a:lvl1pPr>
              <a:defRPr lang="en-US" sz="5882" spc="-200" dirty="0">
                <a:gradFill>
                  <a:gsLst>
                    <a:gs pos="100000">
                      <a:schemeClr val="accent1"/>
                    </a:gs>
                    <a:gs pos="0">
                      <a:schemeClr val="accent1"/>
                    </a:gs>
                  </a:gsLst>
                  <a:lin ang="5400000" scaled="0"/>
                </a:gradFill>
              </a:defRPr>
            </a:lvl1pPr>
          </a:lstStyle>
          <a:p>
            <a:pPr marL="0" lvl="0" indent="0" defTabSz="914403" fontAlgn="base">
              <a:lnSpc>
                <a:spcPct val="100000"/>
              </a:lnSpc>
              <a:spcAft>
                <a:spcPct val="0"/>
              </a:spcAft>
              <a:buFontTx/>
            </a:pPr>
            <a:r>
              <a:rPr lang="en-US" smtClean="0"/>
              <a:t>Click to edit Master title style</a:t>
            </a:r>
            <a:endParaRPr lang="en-US" dirty="0"/>
          </a:p>
        </p:txBody>
      </p:sp>
      <p:sp>
        <p:nvSpPr>
          <p:cNvPr id="3" name="Subtitle 2"/>
          <p:cNvSpPr>
            <a:spLocks noGrp="1"/>
          </p:cNvSpPr>
          <p:nvPr>
            <p:ph type="subTitle" idx="1" hasCustomPrompt="1"/>
          </p:nvPr>
        </p:nvSpPr>
        <p:spPr>
          <a:xfrm>
            <a:off x="5647788" y="3871601"/>
            <a:ext cx="6274974" cy="724246"/>
          </a:xfrm>
        </p:spPr>
        <p:txBody>
          <a:bodyPr wrap="square">
            <a:spAutoFit/>
          </a:bodyPr>
          <a:lstStyle>
            <a:lvl1pPr marL="0" indent="0" algn="l">
              <a:lnSpc>
                <a:spcPct val="90000"/>
              </a:lnSpc>
              <a:spcBef>
                <a:spcPts val="0"/>
              </a:spcBef>
              <a:buNone/>
              <a:defRPr lang="en-US" sz="3137" kern="1200" spc="-70" baseline="0" dirty="0">
                <a:gradFill>
                  <a:gsLst>
                    <a:gs pos="94167">
                      <a:schemeClr val="tx1"/>
                    </a:gs>
                    <a:gs pos="72000">
                      <a:schemeClr val="tx1"/>
                    </a:gs>
                  </a:gsLst>
                  <a:lin ang="5400000" scaled="0"/>
                </a:gradFill>
                <a:latin typeface="+mj-lt"/>
                <a:ea typeface="+mn-ea"/>
                <a:cs typeface="+mn-cs"/>
              </a:defRPr>
            </a:lvl1pPr>
            <a:lvl2pPr marL="457183" indent="0" algn="ctr">
              <a:buNone/>
              <a:defRPr>
                <a:solidFill>
                  <a:schemeClr val="tx1">
                    <a:tint val="75000"/>
                  </a:schemeClr>
                </a:solidFill>
              </a:defRPr>
            </a:lvl2pPr>
            <a:lvl3pPr marL="914367" indent="0" algn="ctr">
              <a:buNone/>
              <a:defRPr>
                <a:solidFill>
                  <a:schemeClr val="tx1">
                    <a:tint val="75000"/>
                  </a:schemeClr>
                </a:solidFill>
              </a:defRPr>
            </a:lvl3pPr>
            <a:lvl4pPr marL="1371550" indent="0" algn="ctr">
              <a:buNone/>
              <a:defRPr>
                <a:solidFill>
                  <a:schemeClr val="tx1">
                    <a:tint val="75000"/>
                  </a:schemeClr>
                </a:solidFill>
              </a:defRPr>
            </a:lvl4pPr>
            <a:lvl5pPr marL="1828734" indent="0" algn="ctr">
              <a:buNone/>
              <a:defRPr>
                <a:solidFill>
                  <a:schemeClr val="tx1">
                    <a:tint val="75000"/>
                  </a:schemeClr>
                </a:solidFill>
              </a:defRPr>
            </a:lvl5pPr>
            <a:lvl6pPr marL="2285918" indent="0" algn="ctr">
              <a:buNone/>
              <a:defRPr>
                <a:solidFill>
                  <a:schemeClr val="tx1">
                    <a:tint val="75000"/>
                  </a:schemeClr>
                </a:solidFill>
              </a:defRPr>
            </a:lvl6pPr>
            <a:lvl7pPr marL="2743101" indent="0" algn="ctr">
              <a:buNone/>
              <a:defRPr>
                <a:solidFill>
                  <a:schemeClr val="tx1">
                    <a:tint val="75000"/>
                  </a:schemeClr>
                </a:solidFill>
              </a:defRPr>
            </a:lvl7pPr>
            <a:lvl8pPr marL="3200284" indent="0" algn="ctr">
              <a:buNone/>
              <a:defRPr>
                <a:solidFill>
                  <a:schemeClr val="tx1">
                    <a:tint val="75000"/>
                  </a:schemeClr>
                </a:solidFill>
              </a:defRPr>
            </a:lvl8pPr>
            <a:lvl9pPr marL="3657469" indent="0" algn="ctr">
              <a:buNone/>
              <a:defRPr>
                <a:solidFill>
                  <a:schemeClr val="tx1">
                    <a:tint val="75000"/>
                  </a:schemeClr>
                </a:solidFill>
              </a:defRPr>
            </a:lvl9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5" name="Text Placeholder 4"/>
          <p:cNvSpPr>
            <a:spLocks noGrp="1"/>
          </p:cNvSpPr>
          <p:nvPr>
            <p:ph type="body" sz="quarter" idx="11" hasCustomPrompt="1"/>
          </p:nvPr>
        </p:nvSpPr>
        <p:spPr>
          <a:xfrm>
            <a:off x="5647788" y="2084172"/>
            <a:ext cx="6274974" cy="1756297"/>
          </a:xfrm>
        </p:spPr>
        <p:txBody>
          <a:bodyPr wrap="square" anchor="b">
            <a:spAutoFit/>
          </a:bodyPr>
          <a:lstStyle>
            <a:lvl1pPr marL="0" indent="0">
              <a:buNone/>
              <a:defRPr sz="5294" spc="-150">
                <a:gradFill>
                  <a:gsLst>
                    <a:gs pos="94167">
                      <a:schemeClr val="tx1"/>
                    </a:gs>
                    <a:gs pos="72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1787027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29880796"/>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914360"/>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69239" y="1187621"/>
            <a:ext cx="11151917" cy="2193862"/>
          </a:xfrm>
          <a:prstGeom prst="rect">
            <a:avLst/>
          </a:prstGeom>
        </p:spPr>
        <p:txBody>
          <a:bodyPr>
            <a:spAutoFit/>
          </a:bodyPr>
          <a:lstStyle>
            <a:lvl1pPr marL="284164" indent="-284164">
              <a:buFont typeface="Wingdings" pitchFamily="2" charset="2"/>
              <a:buChar char=""/>
              <a:defRPr sz="3921"/>
            </a:lvl1pPr>
            <a:lvl2pPr marL="517527" indent="-233364">
              <a:buFont typeface="Wingdings" pitchFamily="2" charset="2"/>
              <a:buChar char=""/>
              <a:defRPr sz="2353" spc="-50" baseline="0">
                <a:latin typeface="+mn-lt"/>
              </a:defRPr>
            </a:lvl2pPr>
            <a:lvl3pPr marL="741366" indent="-223839">
              <a:buFont typeface="Wingdings" pitchFamily="2" charset="2"/>
              <a:buChar char=""/>
              <a:tabLst/>
              <a:defRPr sz="1961" spc="-50" baseline="0">
                <a:latin typeface="+mn-lt"/>
              </a:defRPr>
            </a:lvl3pPr>
            <a:lvl4pPr marL="914403" indent="-173039">
              <a:buFont typeface="Wingdings" pitchFamily="2" charset="2"/>
              <a:buChar char=""/>
              <a:defRPr sz="1765" spc="-50" baseline="0">
                <a:latin typeface="+mn-lt"/>
              </a:defRPr>
            </a:lvl4pPr>
            <a:lvl5pPr marL="1087443" indent="-173039">
              <a:buFont typeface="Wingdings" pitchFamily="2" charset="2"/>
              <a:buChar char=""/>
              <a:tabLst/>
              <a:defRPr sz="1765" spc="-50"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7608260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69239" y="286381"/>
            <a:ext cx="11151917" cy="927940"/>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680068012"/>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76" indent="0">
              <a:buNone/>
              <a:defRPr sz="1961" spc="-50" baseline="0">
                <a:gradFill>
                  <a:gsLst>
                    <a:gs pos="100000">
                      <a:schemeClr val="tx1"/>
                    </a:gs>
                    <a:gs pos="0">
                      <a:schemeClr val="tx1"/>
                    </a:gs>
                  </a:gsLst>
                  <a:lin ang="5400000" scaled="0"/>
                </a:gradFill>
              </a:defRPr>
            </a:lvl3pPr>
            <a:lvl4pPr marL="457202" indent="0">
              <a:buNone/>
              <a:defRPr sz="1765" spc="-50" baseline="0">
                <a:gradFill>
                  <a:gsLst>
                    <a:gs pos="100000">
                      <a:schemeClr val="tx1"/>
                    </a:gs>
                    <a:gs pos="0">
                      <a:schemeClr val="tx1"/>
                    </a:gs>
                  </a:gsLst>
                  <a:lin ang="5400000" scaled="0"/>
                </a:gradFill>
              </a:defRPr>
            </a:lvl4pPr>
            <a:lvl5pPr marL="693741" indent="0">
              <a:buNone/>
              <a:defRPr sz="1765" spc="-50"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05478705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69239" y="1187621"/>
            <a:ext cx="5369641" cy="2703851"/>
          </a:xfrm>
        </p:spPr>
        <p:txBody>
          <a:bodyPr wrap="square">
            <a:spAutoFit/>
          </a:bodyPr>
          <a:lstStyle>
            <a:lvl1pPr marL="292101" indent="-292101">
              <a:spcBef>
                <a:spcPts val="1200"/>
              </a:spcBef>
              <a:buClr>
                <a:schemeClr val="tx1"/>
              </a:buClr>
              <a:buFont typeface="Wingdings" pitchFamily="2" charset="2"/>
              <a:buChar char=""/>
              <a:defRPr/>
            </a:lvl1pPr>
            <a:lvl2pPr marL="520702" indent="-228601">
              <a:defRPr sz="2353" spc="-50" baseline="0"/>
            </a:lvl2pPr>
            <a:lvl3pPr marL="685803" indent="-165101">
              <a:tabLst/>
              <a:defRPr sz="1961" spc="-50" baseline="0"/>
            </a:lvl3pPr>
            <a:lvl4pPr marL="863603" indent="-177801">
              <a:defRPr sz="1765" spc="-50" baseline="0"/>
            </a:lvl4pPr>
            <a:lvl5pPr marL="1028704" indent="-165101">
              <a:tabLst/>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638880" y="1187621"/>
            <a:ext cx="5387457" cy="2703851"/>
          </a:xfrm>
        </p:spPr>
        <p:txBody>
          <a:bodyPr wrap="square">
            <a:spAutoFit/>
          </a:bodyPr>
          <a:lstStyle>
            <a:lvl1pPr marL="339726" indent="-339726">
              <a:spcBef>
                <a:spcPts val="1200"/>
              </a:spcBef>
              <a:buFont typeface="Wingdings" pitchFamily="2" charset="2"/>
              <a:buChar char=""/>
              <a:defRPr lang="en-US" sz="3921" kern="1200" spc="-70" baseline="0" dirty="0" smtClean="0">
                <a:gradFill>
                  <a:gsLst>
                    <a:gs pos="1250">
                      <a:schemeClr val="tx1"/>
                    </a:gs>
                    <a:gs pos="100000">
                      <a:schemeClr val="tx1"/>
                    </a:gs>
                  </a:gsLst>
                  <a:lin ang="5400000" scaled="0"/>
                </a:gradFill>
                <a:latin typeface="+mj-lt"/>
                <a:ea typeface="+mn-ea"/>
                <a:cs typeface="+mn-cs"/>
              </a:defRPr>
            </a:lvl1pPr>
            <a:lvl2pPr marL="635003" indent="-342901">
              <a:defRPr lang="en-US" sz="2353" kern="1200" spc="-50" baseline="0" dirty="0" smtClean="0">
                <a:gradFill>
                  <a:gsLst>
                    <a:gs pos="1250">
                      <a:schemeClr val="tx1"/>
                    </a:gs>
                    <a:gs pos="100000">
                      <a:schemeClr val="tx1"/>
                    </a:gs>
                  </a:gsLst>
                  <a:lin ang="5400000" scaled="0"/>
                </a:gradFill>
                <a:latin typeface="+mn-lt"/>
                <a:ea typeface="+mn-ea"/>
                <a:cs typeface="+mn-cs"/>
              </a:defRPr>
            </a:lvl2pPr>
            <a:lvl3pPr marL="863603" indent="-342901">
              <a:defRPr lang="en-US" sz="1961" kern="1200" spc="-50" baseline="0" dirty="0" smtClean="0">
                <a:gradFill>
                  <a:gsLst>
                    <a:gs pos="1250">
                      <a:schemeClr val="tx1"/>
                    </a:gs>
                    <a:gs pos="100000">
                      <a:schemeClr val="tx1"/>
                    </a:gs>
                  </a:gsLst>
                  <a:lin ang="5400000" scaled="0"/>
                </a:gradFill>
                <a:latin typeface="+mn-lt"/>
                <a:ea typeface="+mn-ea"/>
                <a:cs typeface="+mn-cs"/>
              </a:defRPr>
            </a:lvl3pPr>
            <a:lvl4pPr marL="1028704" indent="-342901">
              <a:defRPr lang="en-US" sz="1765" kern="1200" spc="-50" baseline="0" dirty="0" smtClean="0">
                <a:gradFill>
                  <a:gsLst>
                    <a:gs pos="1250">
                      <a:schemeClr val="tx1"/>
                    </a:gs>
                    <a:gs pos="100000">
                      <a:schemeClr val="tx1"/>
                    </a:gs>
                  </a:gsLst>
                  <a:lin ang="5400000" scaled="0"/>
                </a:gradFill>
                <a:latin typeface="+mn-lt"/>
                <a:ea typeface="+mn-ea"/>
                <a:cs typeface="+mn-cs"/>
              </a:defRPr>
            </a:lvl4pPr>
            <a:lvl5pPr marL="1206505" indent="-342901">
              <a:defRPr lang="en-US" sz="1765" kern="1200" spc="-50" baseline="0" dirty="0">
                <a:gradFill>
                  <a:gsLst>
                    <a:gs pos="1250">
                      <a:schemeClr val="tx1"/>
                    </a:gs>
                    <a:gs pos="100000">
                      <a:schemeClr val="tx1"/>
                    </a:gs>
                  </a:gsLst>
                  <a:lin ang="5400000" scaled="0"/>
                </a:gradFill>
                <a:latin typeface="+mn-lt"/>
                <a:ea typeface="+mn-ea"/>
                <a:cs typeface="+mn-cs"/>
              </a:defRPr>
            </a:lvl5pPr>
          </a:lstStyle>
          <a:p>
            <a:pPr marL="292101" marR="0" lvl="0" indent="-292101" algn="l" defTabSz="91436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20702" marR="0" lvl="1" indent="-2286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85803" marR="0" lvl="2"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63603" marR="0" lvl="3" indent="-1778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28704" marR="0" lvl="4"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66996047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97815"/>
          </a:xfrm>
        </p:spPr>
        <p:txBody>
          <a:bodyPr>
            <a:spAutoFit/>
          </a:bodyPr>
          <a:lstStyle>
            <a:lvl1pPr marL="0" indent="0">
              <a:spcBef>
                <a:spcPts val="1200"/>
              </a:spcBef>
              <a:buNone/>
              <a:defRPr sz="3921">
                <a:gradFill>
                  <a:gsLst>
                    <a:gs pos="100000">
                      <a:schemeClr val="tx2"/>
                    </a:gs>
                    <a:gs pos="0">
                      <a:schemeClr val="tx2"/>
                    </a:gs>
                  </a:gsLst>
                  <a:lin ang="5400000" scaled="0"/>
                </a:gradFill>
                <a:latin typeface="+mj-lt"/>
              </a:defRPr>
            </a:lvl1pPr>
            <a:lvl2pPr marL="0" indent="0">
              <a:buNone/>
              <a:defRPr sz="1961" spc="-50" baseline="0"/>
            </a:lvl2pPr>
            <a:lvl3pPr marL="233364" indent="0">
              <a:buNone/>
              <a:defRPr sz="1961" spc="-50" baseline="0"/>
            </a:lvl3pPr>
            <a:lvl4pPr marL="457202" indent="0">
              <a:buNone/>
              <a:defRPr sz="1765" spc="-50" baseline="0"/>
            </a:lvl4pPr>
            <a:lvl5pPr marL="693741" indent="0">
              <a:buNone/>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42775"/>
          </a:xfrm>
        </p:spPr>
        <p:txBody>
          <a:bodyPr>
            <a:spAutoFit/>
          </a:bodyPr>
          <a:lstStyle>
            <a:lvl1pPr marL="0" indent="0">
              <a:spcBef>
                <a:spcPts val="1200"/>
              </a:spcBef>
              <a:buNone/>
              <a:defRPr lang="en-US" sz="3921"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3913620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37462"/>
          </a:xfrm>
        </p:spPr>
        <p:txBody>
          <a:bodyPr>
            <a:spAutoFit/>
          </a:bodyPr>
          <a:lstStyle>
            <a:lvl1pPr marL="0" indent="0">
              <a:spcBef>
                <a:spcPts val="1200"/>
              </a:spcBef>
              <a:buNone/>
              <a:defRPr sz="3921">
                <a:gradFill>
                  <a:gsLst>
                    <a:gs pos="1000">
                      <a:schemeClr val="tx1"/>
                    </a:gs>
                    <a:gs pos="98000">
                      <a:schemeClr val="tx1"/>
                    </a:gs>
                  </a:gsLst>
                  <a:lin ang="5400000" scaled="0"/>
                </a:gradFill>
                <a:latin typeface="+mj-lt"/>
              </a:defRPr>
            </a:lvl1pPr>
            <a:lvl2pPr marL="0" indent="0">
              <a:buNone/>
              <a:defRPr sz="1961" spc="-50" baseline="0">
                <a:gradFill>
                  <a:gsLst>
                    <a:gs pos="1000">
                      <a:schemeClr val="tx1"/>
                    </a:gs>
                    <a:gs pos="98000">
                      <a:schemeClr val="tx1"/>
                    </a:gs>
                  </a:gsLst>
                  <a:lin ang="5400000" scaled="0"/>
                </a:gradFill>
              </a:defRPr>
            </a:lvl2pPr>
            <a:lvl3pPr marL="233364" indent="0">
              <a:buNone/>
              <a:defRPr sz="1961" spc="-50" baseline="0">
                <a:gradFill>
                  <a:gsLst>
                    <a:gs pos="1000">
                      <a:schemeClr val="tx1"/>
                    </a:gs>
                    <a:gs pos="98000">
                      <a:schemeClr val="tx1"/>
                    </a:gs>
                  </a:gsLst>
                  <a:lin ang="5400000" scaled="0"/>
                </a:gradFill>
              </a:defRPr>
            </a:lvl3pPr>
            <a:lvl4pPr marL="457202" indent="0">
              <a:buNone/>
              <a:defRPr sz="1765" spc="-50" baseline="0">
                <a:gradFill>
                  <a:gsLst>
                    <a:gs pos="1000">
                      <a:schemeClr val="tx1"/>
                    </a:gs>
                    <a:gs pos="98000">
                      <a:schemeClr val="tx1"/>
                    </a:gs>
                  </a:gsLst>
                  <a:lin ang="5400000" scaled="0"/>
                </a:gradFill>
              </a:defRPr>
            </a:lvl4pPr>
            <a:lvl5pPr marL="693741" indent="0">
              <a:buNone/>
              <a:defRPr sz="1765" spc="-50"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37462"/>
          </a:xfrm>
        </p:spPr>
        <p:txBody>
          <a:bodyPr>
            <a:spAutoFit/>
          </a:bodyPr>
          <a:lstStyle>
            <a:lvl1pPr marL="0" indent="0">
              <a:spcBef>
                <a:spcPts val="1200"/>
              </a:spcBef>
              <a:buNone/>
              <a:defRPr lang="en-US" sz="3921"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000">
                      <a:schemeClr val="tx1"/>
                    </a:gs>
                    <a:gs pos="98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666880658"/>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36372725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562707805"/>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87621"/>
            <a:ext cx="11155093" cy="2463945"/>
          </a:xfrm>
        </p:spPr>
        <p:txBody>
          <a:bodyPr>
            <a:spAutoFit/>
          </a:bodyPr>
          <a:lstStyle>
            <a:lvl1pPr marL="0" indent="0">
              <a:buNone/>
              <a:defRPr sz="3235">
                <a:gradFill>
                  <a:gsLst>
                    <a:gs pos="1250">
                      <a:schemeClr val="tx1"/>
                    </a:gs>
                    <a:gs pos="100000">
                      <a:schemeClr val="tx1"/>
                    </a:gs>
                  </a:gsLst>
                  <a:lin ang="5400000" scaled="0"/>
                </a:gradFill>
                <a:latin typeface="Consolas" pitchFamily="49" charset="0"/>
                <a:cs typeface="Consolas" pitchFamily="49" charset="0"/>
              </a:defRPr>
            </a:lvl1pPr>
            <a:lvl2pPr marL="339726" indent="0">
              <a:buNone/>
              <a:defRPr>
                <a:gradFill>
                  <a:gsLst>
                    <a:gs pos="1250">
                      <a:schemeClr val="tx1"/>
                    </a:gs>
                    <a:gs pos="100000">
                      <a:schemeClr val="tx1"/>
                    </a:gs>
                  </a:gsLst>
                  <a:lin ang="5400000" scaled="0"/>
                </a:gradFill>
                <a:latin typeface="Consolas" pitchFamily="49" charset="0"/>
                <a:cs typeface="Consolas" pitchFamily="49" charset="0"/>
              </a:defRPr>
            </a:lvl2pPr>
            <a:lvl3pPr marL="573090" indent="0">
              <a:buNone/>
              <a:defRPr>
                <a:gradFill>
                  <a:gsLst>
                    <a:gs pos="1250">
                      <a:schemeClr val="tx1"/>
                    </a:gs>
                    <a:gs pos="100000">
                      <a:schemeClr val="tx1"/>
                    </a:gs>
                  </a:gsLst>
                  <a:lin ang="5400000" scaled="0"/>
                </a:gradFill>
                <a:latin typeface="Consolas" pitchFamily="49" charset="0"/>
                <a:cs typeface="Consolas" pitchFamily="49" charset="0"/>
              </a:defRPr>
            </a:lvl3pPr>
            <a:lvl4pPr marL="798516" indent="0">
              <a:buNone/>
              <a:defRPr>
                <a:gradFill>
                  <a:gsLst>
                    <a:gs pos="1250">
                      <a:schemeClr val="tx1"/>
                    </a:gs>
                    <a:gs pos="100000">
                      <a:schemeClr val="tx1"/>
                    </a:gs>
                  </a:gsLst>
                  <a:lin ang="5400000" scaled="0"/>
                </a:gradFill>
                <a:latin typeface="Consolas" pitchFamily="49" charset="0"/>
                <a:cs typeface="Consolas" pitchFamily="49" charset="0"/>
              </a:defRPr>
            </a:lvl4pPr>
            <a:lvl5pPr marL="103029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7558144"/>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8084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86528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54014570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6223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1308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752515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38221353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2 for internal audiences">
    <p:spTree>
      <p:nvGrpSpPr>
        <p:cNvPr id="1" name=""/>
        <p:cNvGrpSpPr/>
        <p:nvPr/>
      </p:nvGrpSpPr>
      <p:grpSpPr>
        <a:xfrm>
          <a:off x="0" y="0"/>
          <a:ext cx="0" cy="0"/>
          <a:chOff x="0" y="0"/>
          <a:chExt cx="0" cy="0"/>
        </a:xfrm>
      </p:grpSpPr>
      <p:sp>
        <p:nvSpPr>
          <p:cNvPr id="18" name="Rectangle 17"/>
          <p:cNvSpPr/>
          <p:nvPr/>
        </p:nvSpPr>
        <p:spPr bwMode="auto">
          <a:xfrm>
            <a:off x="269240" y="2084172"/>
            <a:ext cx="8964248" cy="3586208"/>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795" y="2084173"/>
            <a:ext cx="8962692"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7200" y="470412"/>
            <a:ext cx="1522404" cy="326166"/>
          </a:xfrm>
          <a:prstGeom prst="rect">
            <a:avLst/>
          </a:prstGeom>
        </p:spPr>
      </p:pic>
      <p:sp>
        <p:nvSpPr>
          <p:cNvPr id="5" name="Text Placeholder 4"/>
          <p:cNvSpPr>
            <a:spLocks noGrp="1"/>
          </p:cNvSpPr>
          <p:nvPr>
            <p:ph type="body" sz="quarter" idx="12" hasCustomPrompt="1"/>
          </p:nvPr>
        </p:nvSpPr>
        <p:spPr>
          <a:xfrm>
            <a:off x="269240" y="3877272"/>
            <a:ext cx="8964248" cy="1792326"/>
          </a:xfrm>
          <a:noFill/>
        </p:spPr>
        <p:txBody>
          <a:bodyPr lIns="146304" tIns="109728" rIns="146304" bIns="109728">
            <a:noAutofit/>
          </a:bodyPr>
          <a:lstStyle>
            <a:lvl1pPr marL="0" indent="0">
              <a:spcBef>
                <a:spcPts val="0"/>
              </a:spcBef>
              <a:buNone/>
              <a:defRPr sz="3530" spc="0" baseline="0">
                <a:gradFill>
                  <a:gsLst>
                    <a:gs pos="4583">
                      <a:srgbClr val="FFFFFF"/>
                    </a:gs>
                    <a:gs pos="84000">
                      <a:srgbClr val="FFFFFF"/>
                    </a:gs>
                  </a:gsLst>
                  <a:lin ang="5400000" scaled="0"/>
                </a:gradFill>
                <a:latin typeface="+mj-lt"/>
              </a:defRPr>
            </a:lvl1pPr>
          </a:lstStyle>
          <a:p>
            <a:pPr lvl="0"/>
            <a:r>
              <a:rPr lang="en-US" dirty="0" smtClean="0"/>
              <a:t>Speaker Name</a:t>
            </a:r>
          </a:p>
        </p:txBody>
      </p:sp>
      <p:grpSp>
        <p:nvGrpSpPr>
          <p:cNvPr id="14" name="Group 13"/>
          <p:cNvGrpSpPr/>
          <p:nvPr/>
        </p:nvGrpSpPr>
        <p:grpSpPr>
          <a:xfrm>
            <a:off x="1" y="6447969"/>
            <a:ext cx="12191999" cy="410030"/>
            <a:chOff x="274603" y="6576332"/>
            <a:chExt cx="11886441" cy="274320"/>
          </a:xfrm>
        </p:grpSpPr>
        <p:sp>
          <p:nvSpPr>
            <p:cNvPr id="15"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00" spc="0">
                  <a:solidFill>
                    <a:srgbClr val="FFFFFF"/>
                  </a:solidFill>
                </a:rPr>
                <a:t>Technical Evangelism &amp; Development Team</a:t>
              </a:r>
            </a:p>
          </p:txBody>
        </p:sp>
        <p:sp>
          <p:nvSpPr>
            <p:cNvPr id="16"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X</a:t>
              </a:r>
            </a:p>
          </p:txBody>
        </p:sp>
      </p:grpSp>
    </p:spTree>
    <p:extLst>
      <p:ext uri="{BB962C8B-B14F-4D97-AF65-F5344CB8AC3E}">
        <p14:creationId xmlns:p14="http://schemas.microsoft.com/office/powerpoint/2010/main" val="304204541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191999" cy="899665"/>
          </a:xfrm>
          <a:solidFill>
            <a:srgbClr val="00188F"/>
          </a:solidFill>
        </p:spPr>
        <p:txBody>
          <a:bodyPr/>
          <a:lstStyle>
            <a:lvl1pPr>
              <a:defRPr>
                <a:solidFill>
                  <a:schemeClr val="bg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20" indent="0">
              <a:buNone/>
              <a:defRPr/>
            </a:lvl3pPr>
            <a:lvl4pPr marL="448239" indent="0">
              <a:buNone/>
              <a:defRPr/>
            </a:lvl4pPr>
            <a:lvl5pPr marL="672359"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3" name="Group 12"/>
          <p:cNvGrpSpPr/>
          <p:nvPr/>
        </p:nvGrpSpPr>
        <p:grpSpPr>
          <a:xfrm>
            <a:off x="269240" y="6447969"/>
            <a:ext cx="11654266" cy="268966"/>
            <a:chOff x="274603" y="6576332"/>
            <a:chExt cx="11886441" cy="274320"/>
          </a:xfrm>
        </p:grpSpPr>
        <p:sp>
          <p:nvSpPr>
            <p:cNvPr id="14"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569" spc="0">
                  <a:solidFill>
                    <a:srgbClr val="FFFFFF"/>
                  </a:solidFill>
                </a:rPr>
                <a:t>Partner Evangelism Team</a:t>
              </a:r>
            </a:p>
          </p:txBody>
        </p:sp>
        <p:sp>
          <p:nvSpPr>
            <p:cNvPr id="15"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PE</a:t>
              </a:r>
            </a:p>
          </p:txBody>
        </p:sp>
      </p:grpSp>
      <p:grpSp>
        <p:nvGrpSpPr>
          <p:cNvPr id="16" name="Group 15"/>
          <p:cNvGrpSpPr/>
          <p:nvPr/>
        </p:nvGrpSpPr>
        <p:grpSpPr>
          <a:xfrm>
            <a:off x="1" y="6447969"/>
            <a:ext cx="12191999" cy="410030"/>
            <a:chOff x="274603" y="6576332"/>
            <a:chExt cx="11886441" cy="274320"/>
          </a:xfrm>
        </p:grpSpPr>
        <p:sp>
          <p:nvSpPr>
            <p:cNvPr id="17"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67" spc="0">
                  <a:solidFill>
                    <a:srgbClr val="FFFFFF"/>
                  </a:solidFill>
                </a:rPr>
                <a:t>Technical Evangelism &amp; Development Team</a:t>
              </a:r>
            </a:p>
          </p:txBody>
        </p:sp>
        <p:sp>
          <p:nvSpPr>
            <p:cNvPr id="18"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Tree>
    <p:extLst>
      <p:ext uri="{BB962C8B-B14F-4D97-AF65-F5344CB8AC3E}">
        <p14:creationId xmlns:p14="http://schemas.microsoft.com/office/powerpoint/2010/main" val="1680647492"/>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80" tIns="146304" rIns="182880" bIns="146304">
            <a:noAutofit/>
          </a:bodyPr>
          <a:lstStyle>
            <a:lvl1pPr marL="0" indent="0">
              <a:spcBef>
                <a:spcPts val="0"/>
              </a:spcBef>
              <a:buNone/>
              <a:defRPr sz="35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31287370"/>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29880796"/>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86528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3_WALKIN - Prints in GRAYSCALE">
    <p:bg bwMode="ltGray">
      <p:bgPr>
        <a:solidFill>
          <a:schemeClr val="bg1"/>
        </a:solidFill>
        <a:effectLst/>
      </p:bgPr>
    </p:bg>
    <p:spTree>
      <p:nvGrpSpPr>
        <p:cNvPr id="1" name=""/>
        <p:cNvGrpSpPr/>
        <p:nvPr/>
      </p:nvGrpSpPr>
      <p:grpSpPr>
        <a:xfrm>
          <a:off x="0" y="0"/>
          <a:ext cx="0" cy="0"/>
          <a:chOff x="0" y="0"/>
          <a:chExt cx="0" cy="0"/>
        </a:xfrm>
      </p:grpSpPr>
      <p:sp>
        <p:nvSpPr>
          <p:cNvPr id="29" name="Rectangle 28"/>
          <p:cNvSpPr/>
          <p:nvPr/>
        </p:nvSpPr>
        <p:spPr bwMode="auto">
          <a:xfrm>
            <a:off x="7986422"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607094"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607094" y="3233551"/>
            <a:ext cx="3598488" cy="1398685"/>
          </a:xfrm>
          <a:prstGeom prst="rect">
            <a:avLst/>
          </a:prstGeom>
          <a:noFill/>
        </p:spPr>
        <p:txBody>
          <a:bodyPr wrap="square" lIns="75692" tIns="37846" rIns="75692" bIns="211644" rtlCol="0" anchor="b" anchorCtr="0">
            <a:spAutoFit/>
          </a:bodyPr>
          <a:lstStyle/>
          <a:p>
            <a:pPr algn="ctr" defTabSz="946279"/>
            <a:r>
              <a:rPr lang="en-US" sz="7450" spc="-116" dirty="0">
                <a:gradFill>
                  <a:gsLst>
                    <a:gs pos="26000">
                      <a:srgbClr val="FFFFFF"/>
                    </a:gs>
                    <a:gs pos="63000">
                      <a:srgbClr val="FFFFFF"/>
                    </a:gs>
                  </a:gsLst>
                  <a:lin ang="5400000" scaled="0"/>
                </a:gradFill>
                <a:latin typeface="Segoe UI Light" pitchFamily="34" charset="0"/>
              </a:rPr>
              <a:t>TED</a:t>
            </a:r>
          </a:p>
        </p:txBody>
      </p:sp>
      <p:sp>
        <p:nvSpPr>
          <p:cNvPr id="33" name="Rectangle 32"/>
          <p:cNvSpPr/>
          <p:nvPr/>
        </p:nvSpPr>
        <p:spPr bwMode="auto">
          <a:xfrm>
            <a:off x="4296758" y="307635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15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427711" y="1841502"/>
            <a:ext cx="2715902" cy="2400663"/>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5232807" y="3282782"/>
            <a:ext cx="1741440" cy="1061377"/>
          </a:xfrm>
          <a:prstGeom prst="rect">
            <a:avLst/>
          </a:prstGeom>
          <a:noFill/>
          <a:extLst>
            <a:ext uri="{909E8E84-426E-40dd-AFC4-6F175D3DCCD1}">
              <a14:hiddenFill xmlns:a14="http://schemas.microsoft.com/office/drawing/2010/main" xmlns="">
                <a:solidFill>
                  <a:srgbClr val="FFFFFF"/>
                </a:solidFill>
              </a14:hiddenFill>
            </a:ext>
          </a:extLst>
        </p:spPr>
      </p:pic>
      <p:sp>
        <p:nvSpPr>
          <p:cNvPr id="32" name="Rectangle 31"/>
          <p:cNvSpPr/>
          <p:nvPr/>
        </p:nvSpPr>
        <p:spPr bwMode="auto">
          <a:xfrm>
            <a:off x="4296758" y="145143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20"/>
          <p:cNvSpPr>
            <a:spLocks noEditPoints="1"/>
          </p:cNvSpPr>
          <p:nvPr/>
        </p:nvSpPr>
        <p:spPr bwMode="black">
          <a:xfrm>
            <a:off x="5333974" y="2082530"/>
            <a:ext cx="717407" cy="44087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0" tIns="31739" rIns="63477" bIns="31739" numCol="1" anchor="t" anchorCtr="0" compatLnSpc="1">
            <a:prstTxWarp prst="textNoShape">
              <a:avLst/>
            </a:prstTxWarp>
          </a:bodyPr>
          <a:lstStyle/>
          <a:p>
            <a:pPr algn="ctr"/>
            <a:endParaRPr lang="en-US" sz="686" dirty="0">
              <a:gradFill>
                <a:gsLst>
                  <a:gs pos="0">
                    <a:srgbClr val="FFFFFF"/>
                  </a:gs>
                  <a:gs pos="100000">
                    <a:srgbClr val="FFFFFF"/>
                  </a:gs>
                </a:gsLst>
                <a:lin ang="5400000" scaled="0"/>
              </a:gradFill>
            </a:endParaRPr>
          </a:p>
        </p:txBody>
      </p:sp>
      <p:sp>
        <p:nvSpPr>
          <p:cNvPr id="37" name="Rounded Rectangle 6"/>
          <p:cNvSpPr/>
          <p:nvPr/>
        </p:nvSpPr>
        <p:spPr bwMode="black">
          <a:xfrm rot="16200000">
            <a:off x="4642079" y="1985184"/>
            <a:ext cx="396281" cy="63556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198"/>
            <a:endParaRPr lang="en-US" sz="1765" spc="-95" dirty="0">
              <a:gradFill>
                <a:gsLst>
                  <a:gs pos="0">
                    <a:srgbClr val="FFFFFF"/>
                  </a:gs>
                  <a:gs pos="100000">
                    <a:srgbClr val="FFFFFF"/>
                  </a:gs>
                </a:gsLst>
                <a:lin ang="5400000" scaled="0"/>
              </a:gradFill>
              <a:latin typeface="Segoe Light" pitchFamily="34" charset="0"/>
            </a:endParaRPr>
          </a:p>
        </p:txBody>
      </p:sp>
      <p:grpSp>
        <p:nvGrpSpPr>
          <p:cNvPr id="8" name="Group 7"/>
          <p:cNvGrpSpPr/>
          <p:nvPr/>
        </p:nvGrpSpPr>
        <p:grpSpPr>
          <a:xfrm>
            <a:off x="6661757" y="2070159"/>
            <a:ext cx="1080970" cy="465617"/>
            <a:chOff x="8013498" y="3139440"/>
            <a:chExt cx="1337702" cy="651864"/>
          </a:xfrm>
        </p:grpSpPr>
        <p:grpSp>
          <p:nvGrpSpPr>
            <p:cNvPr id="7" name="Group 6"/>
            <p:cNvGrpSpPr/>
            <p:nvPr userDrawn="1"/>
          </p:nvGrpSpPr>
          <p:grpSpPr>
            <a:xfrm>
              <a:off x="8013498" y="3581400"/>
              <a:ext cx="631919" cy="209904"/>
              <a:chOff x="5584401" y="7523789"/>
              <a:chExt cx="3182937" cy="1057275"/>
            </a:xfrm>
          </p:grpSpPr>
          <p:sp>
            <p:nvSpPr>
              <p:cNvPr id="5" name="Freeform 6"/>
              <p:cNvSpPr>
                <a:spLocks noEditPoints="1"/>
              </p:cNvSpPr>
              <p:nvPr userDrawn="1"/>
            </p:nvSpPr>
            <p:spPr bwMode="auto">
              <a:xfrm>
                <a:off x="5584401" y="7523789"/>
                <a:ext cx="3182937" cy="547688"/>
              </a:xfrm>
              <a:custGeom>
                <a:avLst/>
                <a:gdLst>
                  <a:gd name="T0" fmla="*/ 831 w 849"/>
                  <a:gd name="T1" fmla="*/ 0 h 146"/>
                  <a:gd name="T2" fmla="*/ 18 w 849"/>
                  <a:gd name="T3" fmla="*/ 0 h 146"/>
                  <a:gd name="T4" fmla="*/ 0 w 849"/>
                  <a:gd name="T5" fmla="*/ 18 h 146"/>
                  <a:gd name="T6" fmla="*/ 0 w 849"/>
                  <a:gd name="T7" fmla="*/ 128 h 146"/>
                  <a:gd name="T8" fmla="*/ 18 w 849"/>
                  <a:gd name="T9" fmla="*/ 146 h 146"/>
                  <a:gd name="T10" fmla="*/ 831 w 849"/>
                  <a:gd name="T11" fmla="*/ 146 h 146"/>
                  <a:gd name="T12" fmla="*/ 849 w 849"/>
                  <a:gd name="T13" fmla="*/ 128 h 146"/>
                  <a:gd name="T14" fmla="*/ 849 w 849"/>
                  <a:gd name="T15" fmla="*/ 18 h 146"/>
                  <a:gd name="T16" fmla="*/ 831 w 849"/>
                  <a:gd name="T17" fmla="*/ 0 h 146"/>
                  <a:gd name="T18" fmla="*/ 193 w 849"/>
                  <a:gd name="T19" fmla="*/ 109 h 146"/>
                  <a:gd name="T20" fmla="*/ 156 w 849"/>
                  <a:gd name="T21" fmla="*/ 73 h 146"/>
                  <a:gd name="T22" fmla="*/ 193 w 849"/>
                  <a:gd name="T23" fmla="*/ 36 h 146"/>
                  <a:gd name="T24" fmla="*/ 230 w 849"/>
                  <a:gd name="T25" fmla="*/ 73 h 146"/>
                  <a:gd name="T26" fmla="*/ 193 w 849"/>
                  <a:gd name="T27" fmla="*/ 109 h 146"/>
                  <a:gd name="T28" fmla="*/ 379 w 849"/>
                  <a:gd name="T29" fmla="*/ 109 h 146"/>
                  <a:gd name="T30" fmla="*/ 342 w 849"/>
                  <a:gd name="T31" fmla="*/ 73 h 146"/>
                  <a:gd name="T32" fmla="*/ 379 w 849"/>
                  <a:gd name="T33" fmla="*/ 36 h 146"/>
                  <a:gd name="T34" fmla="*/ 415 w 849"/>
                  <a:gd name="T35" fmla="*/ 73 h 146"/>
                  <a:gd name="T36" fmla="*/ 379 w 849"/>
                  <a:gd name="T37" fmla="*/ 109 h 146"/>
                  <a:gd name="T38" fmla="*/ 472 w 849"/>
                  <a:gd name="T39" fmla="*/ 109 h 146"/>
                  <a:gd name="T40" fmla="*/ 436 w 849"/>
                  <a:gd name="T41" fmla="*/ 73 h 146"/>
                  <a:gd name="T42" fmla="*/ 472 w 849"/>
                  <a:gd name="T43" fmla="*/ 36 h 146"/>
                  <a:gd name="T44" fmla="*/ 509 w 849"/>
                  <a:gd name="T45" fmla="*/ 73 h 146"/>
                  <a:gd name="T46" fmla="*/ 472 w 849"/>
                  <a:gd name="T47" fmla="*/ 10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9" h="146">
                    <a:moveTo>
                      <a:pt x="831" y="0"/>
                    </a:moveTo>
                    <a:cubicBezTo>
                      <a:pt x="18" y="0"/>
                      <a:pt x="18" y="0"/>
                      <a:pt x="18" y="0"/>
                    </a:cubicBezTo>
                    <a:cubicBezTo>
                      <a:pt x="8" y="0"/>
                      <a:pt x="0" y="8"/>
                      <a:pt x="0" y="18"/>
                    </a:cubicBezTo>
                    <a:cubicBezTo>
                      <a:pt x="0" y="128"/>
                      <a:pt x="0" y="128"/>
                      <a:pt x="0" y="128"/>
                    </a:cubicBezTo>
                    <a:cubicBezTo>
                      <a:pt x="0" y="138"/>
                      <a:pt x="8" y="146"/>
                      <a:pt x="18" y="146"/>
                    </a:cubicBezTo>
                    <a:cubicBezTo>
                      <a:pt x="831" y="146"/>
                      <a:pt x="831" y="146"/>
                      <a:pt x="831" y="146"/>
                    </a:cubicBezTo>
                    <a:cubicBezTo>
                      <a:pt x="841" y="146"/>
                      <a:pt x="849" y="138"/>
                      <a:pt x="849" y="128"/>
                    </a:cubicBezTo>
                    <a:cubicBezTo>
                      <a:pt x="849" y="18"/>
                      <a:pt x="849" y="18"/>
                      <a:pt x="849" y="18"/>
                    </a:cubicBezTo>
                    <a:cubicBezTo>
                      <a:pt x="849" y="8"/>
                      <a:pt x="841" y="0"/>
                      <a:pt x="831" y="0"/>
                    </a:cubicBezTo>
                    <a:close/>
                    <a:moveTo>
                      <a:pt x="193" y="109"/>
                    </a:moveTo>
                    <a:cubicBezTo>
                      <a:pt x="173" y="109"/>
                      <a:pt x="156" y="93"/>
                      <a:pt x="156" y="73"/>
                    </a:cubicBezTo>
                    <a:cubicBezTo>
                      <a:pt x="156" y="53"/>
                      <a:pt x="173" y="36"/>
                      <a:pt x="193" y="36"/>
                    </a:cubicBezTo>
                    <a:cubicBezTo>
                      <a:pt x="213" y="36"/>
                      <a:pt x="230" y="53"/>
                      <a:pt x="230" y="73"/>
                    </a:cubicBezTo>
                    <a:cubicBezTo>
                      <a:pt x="230" y="93"/>
                      <a:pt x="213" y="109"/>
                      <a:pt x="193" y="109"/>
                    </a:cubicBezTo>
                    <a:close/>
                    <a:moveTo>
                      <a:pt x="379" y="109"/>
                    </a:moveTo>
                    <a:cubicBezTo>
                      <a:pt x="359" y="109"/>
                      <a:pt x="342" y="93"/>
                      <a:pt x="342" y="73"/>
                    </a:cubicBezTo>
                    <a:cubicBezTo>
                      <a:pt x="342" y="53"/>
                      <a:pt x="359" y="36"/>
                      <a:pt x="379" y="36"/>
                    </a:cubicBezTo>
                    <a:cubicBezTo>
                      <a:pt x="399" y="36"/>
                      <a:pt x="415" y="53"/>
                      <a:pt x="415" y="73"/>
                    </a:cubicBezTo>
                    <a:cubicBezTo>
                      <a:pt x="415" y="93"/>
                      <a:pt x="399" y="109"/>
                      <a:pt x="379" y="109"/>
                    </a:cubicBezTo>
                    <a:close/>
                    <a:moveTo>
                      <a:pt x="472" y="109"/>
                    </a:moveTo>
                    <a:cubicBezTo>
                      <a:pt x="452" y="109"/>
                      <a:pt x="436" y="93"/>
                      <a:pt x="436" y="73"/>
                    </a:cubicBezTo>
                    <a:cubicBezTo>
                      <a:pt x="436" y="53"/>
                      <a:pt x="452" y="36"/>
                      <a:pt x="472" y="36"/>
                    </a:cubicBezTo>
                    <a:cubicBezTo>
                      <a:pt x="492" y="36"/>
                      <a:pt x="509" y="53"/>
                      <a:pt x="509" y="73"/>
                    </a:cubicBezTo>
                    <a:cubicBezTo>
                      <a:pt x="509" y="93"/>
                      <a:pt x="492" y="109"/>
                      <a:pt x="472" y="109"/>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6" name="Freeform 7"/>
              <p:cNvSpPr>
                <a:spLocks/>
              </p:cNvSpPr>
              <p:nvPr userDrawn="1"/>
            </p:nvSpPr>
            <p:spPr bwMode="auto">
              <a:xfrm>
                <a:off x="6594051" y="8222289"/>
                <a:ext cx="1154112" cy="358775"/>
              </a:xfrm>
              <a:custGeom>
                <a:avLst/>
                <a:gdLst>
                  <a:gd name="T0" fmla="*/ 126 w 308"/>
                  <a:gd name="T1" fmla="*/ 0 h 96"/>
                  <a:gd name="T2" fmla="*/ 97 w 308"/>
                  <a:gd name="T3" fmla="*/ 6 h 96"/>
                  <a:gd name="T4" fmla="*/ 12 w 308"/>
                  <a:gd name="T5" fmla="*/ 45 h 96"/>
                  <a:gd name="T6" fmla="*/ 3 w 308"/>
                  <a:gd name="T7" fmla="*/ 65 h 96"/>
                  <a:gd name="T8" fmla="*/ 10 w 308"/>
                  <a:gd name="T9" fmla="*/ 82 h 96"/>
                  <a:gd name="T10" fmla="*/ 30 w 308"/>
                  <a:gd name="T11" fmla="*/ 96 h 96"/>
                  <a:gd name="T12" fmla="*/ 279 w 308"/>
                  <a:gd name="T13" fmla="*/ 96 h 96"/>
                  <a:gd name="T14" fmla="*/ 299 w 308"/>
                  <a:gd name="T15" fmla="*/ 82 h 96"/>
                  <a:gd name="T16" fmla="*/ 305 w 308"/>
                  <a:gd name="T17" fmla="*/ 64 h 96"/>
                  <a:gd name="T18" fmla="*/ 296 w 308"/>
                  <a:gd name="T19" fmla="*/ 44 h 96"/>
                  <a:gd name="T20" fmla="*/ 211 w 308"/>
                  <a:gd name="T21" fmla="*/ 6 h 96"/>
                  <a:gd name="T22" fmla="*/ 182 w 308"/>
                  <a:gd name="T23" fmla="*/ 0 h 96"/>
                  <a:gd name="T24" fmla="*/ 126 w 308"/>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96">
                    <a:moveTo>
                      <a:pt x="126" y="0"/>
                    </a:moveTo>
                    <a:cubicBezTo>
                      <a:pt x="118" y="0"/>
                      <a:pt x="105" y="3"/>
                      <a:pt x="97" y="6"/>
                    </a:cubicBezTo>
                    <a:cubicBezTo>
                      <a:pt x="12" y="45"/>
                      <a:pt x="12" y="45"/>
                      <a:pt x="12" y="45"/>
                    </a:cubicBezTo>
                    <a:cubicBezTo>
                      <a:pt x="4" y="48"/>
                      <a:pt x="0" y="57"/>
                      <a:pt x="3" y="65"/>
                    </a:cubicBezTo>
                    <a:cubicBezTo>
                      <a:pt x="10" y="82"/>
                      <a:pt x="10" y="82"/>
                      <a:pt x="10" y="82"/>
                    </a:cubicBezTo>
                    <a:cubicBezTo>
                      <a:pt x="12" y="90"/>
                      <a:pt x="22" y="96"/>
                      <a:pt x="30" y="96"/>
                    </a:cubicBezTo>
                    <a:cubicBezTo>
                      <a:pt x="279" y="96"/>
                      <a:pt x="279" y="96"/>
                      <a:pt x="279" y="96"/>
                    </a:cubicBezTo>
                    <a:cubicBezTo>
                      <a:pt x="287" y="96"/>
                      <a:pt x="296" y="90"/>
                      <a:pt x="299" y="82"/>
                    </a:cubicBezTo>
                    <a:cubicBezTo>
                      <a:pt x="305" y="64"/>
                      <a:pt x="305" y="64"/>
                      <a:pt x="305" y="64"/>
                    </a:cubicBezTo>
                    <a:cubicBezTo>
                      <a:pt x="308" y="56"/>
                      <a:pt x="304" y="47"/>
                      <a:pt x="296" y="44"/>
                    </a:cubicBezTo>
                    <a:cubicBezTo>
                      <a:pt x="211" y="6"/>
                      <a:pt x="211" y="6"/>
                      <a:pt x="211" y="6"/>
                    </a:cubicBezTo>
                    <a:cubicBezTo>
                      <a:pt x="203" y="2"/>
                      <a:pt x="190" y="0"/>
                      <a:pt x="182" y="0"/>
                    </a:cubicBezTo>
                    <a:lnTo>
                      <a:pt x="126" y="0"/>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19" name="Freeform 7"/>
            <p:cNvSpPr>
              <a:spLocks noChangeAspect="1" noEditPoints="1"/>
            </p:cNvSpPr>
            <p:nvPr userDrawn="1"/>
          </p:nvSpPr>
          <p:spPr bwMode="black">
            <a:xfrm>
              <a:off x="8450794" y="3139440"/>
              <a:ext cx="900406" cy="56874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22" name="Freeform 17"/>
          <p:cNvSpPr>
            <a:spLocks noEditPoints="1"/>
          </p:cNvSpPr>
          <p:nvPr/>
        </p:nvSpPr>
        <p:spPr bwMode="auto">
          <a:xfrm>
            <a:off x="6227355" y="2076999"/>
            <a:ext cx="258424" cy="451937"/>
          </a:xfrm>
          <a:custGeom>
            <a:avLst/>
            <a:gdLst>
              <a:gd name="T0" fmla="*/ 1217 w 1337"/>
              <a:gd name="T1" fmla="*/ 0 h 2644"/>
              <a:gd name="T2" fmla="*/ 120 w 1337"/>
              <a:gd name="T3" fmla="*/ 0 h 2644"/>
              <a:gd name="T4" fmla="*/ 0 w 1337"/>
              <a:gd name="T5" fmla="*/ 120 h 2644"/>
              <a:gd name="T6" fmla="*/ 0 w 1337"/>
              <a:gd name="T7" fmla="*/ 2524 h 2644"/>
              <a:gd name="T8" fmla="*/ 120 w 1337"/>
              <a:gd name="T9" fmla="*/ 2644 h 2644"/>
              <a:gd name="T10" fmla="*/ 1217 w 1337"/>
              <a:gd name="T11" fmla="*/ 2644 h 2644"/>
              <a:gd name="T12" fmla="*/ 1337 w 1337"/>
              <a:gd name="T13" fmla="*/ 2524 h 2644"/>
              <a:gd name="T14" fmla="*/ 1337 w 1337"/>
              <a:gd name="T15" fmla="*/ 120 h 2644"/>
              <a:gd name="T16" fmla="*/ 1217 w 1337"/>
              <a:gd name="T17" fmla="*/ 0 h 2644"/>
              <a:gd name="T18" fmla="*/ 374 w 1337"/>
              <a:gd name="T19" fmla="*/ 2479 h 2644"/>
              <a:gd name="T20" fmla="*/ 102 w 1337"/>
              <a:gd name="T21" fmla="*/ 2479 h 2644"/>
              <a:gd name="T22" fmla="*/ 102 w 1337"/>
              <a:gd name="T23" fmla="*/ 2416 h 2644"/>
              <a:gd name="T24" fmla="*/ 374 w 1337"/>
              <a:gd name="T25" fmla="*/ 2416 h 2644"/>
              <a:gd name="T26" fmla="*/ 374 w 1337"/>
              <a:gd name="T27" fmla="*/ 2479 h 2644"/>
              <a:gd name="T28" fmla="*/ 653 w 1337"/>
              <a:gd name="T29" fmla="*/ 2479 h 2644"/>
              <a:gd name="T30" fmla="*/ 380 w 1337"/>
              <a:gd name="T31" fmla="*/ 2479 h 2644"/>
              <a:gd name="T32" fmla="*/ 380 w 1337"/>
              <a:gd name="T33" fmla="*/ 2416 h 2644"/>
              <a:gd name="T34" fmla="*/ 653 w 1337"/>
              <a:gd name="T35" fmla="*/ 2416 h 2644"/>
              <a:gd name="T36" fmla="*/ 653 w 1337"/>
              <a:gd name="T37" fmla="*/ 2479 h 2644"/>
              <a:gd name="T38" fmla="*/ 932 w 1337"/>
              <a:gd name="T39" fmla="*/ 2479 h 2644"/>
              <a:gd name="T40" fmla="*/ 659 w 1337"/>
              <a:gd name="T41" fmla="*/ 2479 h 2644"/>
              <a:gd name="T42" fmla="*/ 659 w 1337"/>
              <a:gd name="T43" fmla="*/ 2416 h 2644"/>
              <a:gd name="T44" fmla="*/ 932 w 1337"/>
              <a:gd name="T45" fmla="*/ 2416 h 2644"/>
              <a:gd name="T46" fmla="*/ 932 w 1337"/>
              <a:gd name="T47" fmla="*/ 2479 h 2644"/>
              <a:gd name="T48" fmla="*/ 1210 w 1337"/>
              <a:gd name="T49" fmla="*/ 2479 h 2644"/>
              <a:gd name="T50" fmla="*/ 938 w 1337"/>
              <a:gd name="T51" fmla="*/ 2479 h 2644"/>
              <a:gd name="T52" fmla="*/ 938 w 1337"/>
              <a:gd name="T53" fmla="*/ 2416 h 2644"/>
              <a:gd name="T54" fmla="*/ 1210 w 1337"/>
              <a:gd name="T55" fmla="*/ 2416 h 2644"/>
              <a:gd name="T56" fmla="*/ 1210 w 1337"/>
              <a:gd name="T57" fmla="*/ 2479 h 2644"/>
              <a:gd name="T58" fmla="*/ 1241 w 1337"/>
              <a:gd name="T59" fmla="*/ 2232 h 2644"/>
              <a:gd name="T60" fmla="*/ 84 w 1337"/>
              <a:gd name="T61" fmla="*/ 2232 h 2644"/>
              <a:gd name="T62" fmla="*/ 84 w 1337"/>
              <a:gd name="T63" fmla="*/ 214 h 2644"/>
              <a:gd name="T64" fmla="*/ 1241 w 1337"/>
              <a:gd name="T65" fmla="*/ 214 h 2644"/>
              <a:gd name="T66" fmla="*/ 1241 w 1337"/>
              <a:gd name="T67" fmla="*/ 2232 h 2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7" h="2644">
                <a:moveTo>
                  <a:pt x="1217" y="0"/>
                </a:moveTo>
                <a:cubicBezTo>
                  <a:pt x="120" y="0"/>
                  <a:pt x="120" y="0"/>
                  <a:pt x="120" y="0"/>
                </a:cubicBezTo>
                <a:cubicBezTo>
                  <a:pt x="54" y="0"/>
                  <a:pt x="0" y="54"/>
                  <a:pt x="0" y="120"/>
                </a:cubicBezTo>
                <a:cubicBezTo>
                  <a:pt x="0" y="2524"/>
                  <a:pt x="0" y="2524"/>
                  <a:pt x="0" y="2524"/>
                </a:cubicBezTo>
                <a:cubicBezTo>
                  <a:pt x="0" y="2590"/>
                  <a:pt x="54" y="2644"/>
                  <a:pt x="120" y="2644"/>
                </a:cubicBezTo>
                <a:cubicBezTo>
                  <a:pt x="1217" y="2644"/>
                  <a:pt x="1217" y="2644"/>
                  <a:pt x="1217" y="2644"/>
                </a:cubicBezTo>
                <a:cubicBezTo>
                  <a:pt x="1283" y="2644"/>
                  <a:pt x="1337" y="2590"/>
                  <a:pt x="1337" y="2524"/>
                </a:cubicBezTo>
                <a:cubicBezTo>
                  <a:pt x="1337" y="120"/>
                  <a:pt x="1337" y="120"/>
                  <a:pt x="1337" y="120"/>
                </a:cubicBezTo>
                <a:cubicBezTo>
                  <a:pt x="1337" y="54"/>
                  <a:pt x="1283" y="0"/>
                  <a:pt x="1217" y="0"/>
                </a:cubicBezTo>
                <a:close/>
                <a:moveTo>
                  <a:pt x="374" y="2479"/>
                </a:moveTo>
                <a:cubicBezTo>
                  <a:pt x="102" y="2479"/>
                  <a:pt x="102" y="2479"/>
                  <a:pt x="102" y="2479"/>
                </a:cubicBezTo>
                <a:cubicBezTo>
                  <a:pt x="102" y="2416"/>
                  <a:pt x="102" y="2416"/>
                  <a:pt x="102" y="2416"/>
                </a:cubicBezTo>
                <a:cubicBezTo>
                  <a:pt x="374" y="2416"/>
                  <a:pt x="374" y="2416"/>
                  <a:pt x="374" y="2416"/>
                </a:cubicBezTo>
                <a:lnTo>
                  <a:pt x="374" y="2479"/>
                </a:lnTo>
                <a:close/>
                <a:moveTo>
                  <a:pt x="653" y="2479"/>
                </a:moveTo>
                <a:cubicBezTo>
                  <a:pt x="380" y="2479"/>
                  <a:pt x="380" y="2479"/>
                  <a:pt x="380" y="2479"/>
                </a:cubicBezTo>
                <a:cubicBezTo>
                  <a:pt x="380" y="2416"/>
                  <a:pt x="380" y="2416"/>
                  <a:pt x="380" y="2416"/>
                </a:cubicBezTo>
                <a:cubicBezTo>
                  <a:pt x="653" y="2416"/>
                  <a:pt x="653" y="2416"/>
                  <a:pt x="653" y="2416"/>
                </a:cubicBezTo>
                <a:lnTo>
                  <a:pt x="653" y="2479"/>
                </a:lnTo>
                <a:close/>
                <a:moveTo>
                  <a:pt x="932" y="2479"/>
                </a:moveTo>
                <a:cubicBezTo>
                  <a:pt x="659" y="2479"/>
                  <a:pt x="659" y="2479"/>
                  <a:pt x="659" y="2479"/>
                </a:cubicBezTo>
                <a:cubicBezTo>
                  <a:pt x="659" y="2416"/>
                  <a:pt x="659" y="2416"/>
                  <a:pt x="659" y="2416"/>
                </a:cubicBezTo>
                <a:cubicBezTo>
                  <a:pt x="932" y="2416"/>
                  <a:pt x="932" y="2416"/>
                  <a:pt x="932" y="2416"/>
                </a:cubicBezTo>
                <a:lnTo>
                  <a:pt x="932" y="2479"/>
                </a:lnTo>
                <a:close/>
                <a:moveTo>
                  <a:pt x="1210" y="2479"/>
                </a:moveTo>
                <a:cubicBezTo>
                  <a:pt x="938" y="2479"/>
                  <a:pt x="938" y="2479"/>
                  <a:pt x="938" y="2479"/>
                </a:cubicBezTo>
                <a:cubicBezTo>
                  <a:pt x="938" y="2416"/>
                  <a:pt x="938" y="2416"/>
                  <a:pt x="938" y="2416"/>
                </a:cubicBezTo>
                <a:cubicBezTo>
                  <a:pt x="1210" y="2416"/>
                  <a:pt x="1210" y="2416"/>
                  <a:pt x="1210" y="2416"/>
                </a:cubicBezTo>
                <a:lnTo>
                  <a:pt x="1210" y="2479"/>
                </a:lnTo>
                <a:close/>
                <a:moveTo>
                  <a:pt x="1241" y="2232"/>
                </a:moveTo>
                <a:cubicBezTo>
                  <a:pt x="84" y="2232"/>
                  <a:pt x="84" y="2232"/>
                  <a:pt x="84" y="2232"/>
                </a:cubicBezTo>
                <a:cubicBezTo>
                  <a:pt x="84" y="214"/>
                  <a:pt x="84" y="214"/>
                  <a:pt x="84" y="214"/>
                </a:cubicBezTo>
                <a:cubicBezTo>
                  <a:pt x="1241" y="214"/>
                  <a:pt x="1241" y="214"/>
                  <a:pt x="1241" y="214"/>
                </a:cubicBezTo>
                <a:lnTo>
                  <a:pt x="1241" y="2232"/>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2" name="Footer Placeholder 1"/>
          <p:cNvSpPr>
            <a:spLocks noGrp="1"/>
          </p:cNvSpPr>
          <p:nvPr>
            <p:ph type="ftr" sz="quarter" idx="10"/>
          </p:nvPr>
        </p:nvSpPr>
        <p:spPr>
          <a:xfrm>
            <a:off x="90019" y="6656550"/>
            <a:ext cx="3859607" cy="154130"/>
          </a:xfrm>
          <a:prstGeom prst="rect">
            <a:avLst/>
          </a:prstGeom>
        </p:spPr>
        <p:txBody>
          <a:bodyPr/>
          <a:lstStyle/>
          <a:p>
            <a:r>
              <a:rPr lang="en-US" smtClean="0">
                <a:solidFill>
                  <a:srgbClr val="505050">
                    <a:tint val="75000"/>
                  </a:srgbClr>
                </a:solidFill>
              </a:rPr>
              <a:t>Microsoft Confidential</a:t>
            </a:r>
            <a:endParaRPr lang="en-US" dirty="0">
              <a:solidFill>
                <a:srgbClr val="505050">
                  <a:tint val="75000"/>
                </a:srgbClr>
              </a:solidFill>
            </a:endParaRPr>
          </a:p>
        </p:txBody>
      </p:sp>
      <p:sp>
        <p:nvSpPr>
          <p:cNvPr id="3" name="Slide Number Placeholder 2"/>
          <p:cNvSpPr>
            <a:spLocks noGrp="1"/>
          </p:cNvSpPr>
          <p:nvPr>
            <p:ph type="sldNum" sz="quarter" idx="11"/>
          </p:nvPr>
        </p:nvSpPr>
        <p:spPr>
          <a:xfrm>
            <a:off x="11474490" y="6656551"/>
            <a:ext cx="679506" cy="162535"/>
          </a:xfrm>
          <a:prstGeom prst="rect">
            <a:avLst/>
          </a:prstGeom>
        </p:spPr>
        <p:txBody>
          <a:bodyPr/>
          <a:lstStyle/>
          <a:p>
            <a:fld id="{337CC868-EBA7-ED47-93D7-8656571B0709}"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80978868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cSld name="3_WALKIN - Prints in GRAYSCALE">
    <p:bg bwMode="ltGray">
      <p:bgPr>
        <a:solidFill>
          <a:schemeClr val="bg1"/>
        </a:solidFill>
        <a:effectLst/>
      </p:bgPr>
    </p:bg>
    <p:spTree>
      <p:nvGrpSpPr>
        <p:cNvPr id="1" name=""/>
        <p:cNvGrpSpPr/>
        <p:nvPr/>
      </p:nvGrpSpPr>
      <p:grpSpPr>
        <a:xfrm>
          <a:off x="0" y="0"/>
          <a:ext cx="0" cy="0"/>
          <a:chOff x="0" y="0"/>
          <a:chExt cx="0" cy="0"/>
        </a:xfrm>
      </p:grpSpPr>
      <p:sp>
        <p:nvSpPr>
          <p:cNvPr id="29" name="Rectangle 28"/>
          <p:cNvSpPr/>
          <p:nvPr/>
        </p:nvSpPr>
        <p:spPr bwMode="auto">
          <a:xfrm>
            <a:off x="7986422"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607094"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607094" y="3233551"/>
            <a:ext cx="3598488" cy="1398685"/>
          </a:xfrm>
          <a:prstGeom prst="rect">
            <a:avLst/>
          </a:prstGeom>
          <a:noFill/>
        </p:spPr>
        <p:txBody>
          <a:bodyPr wrap="square" lIns="75692" tIns="37846" rIns="75692" bIns="211644" rtlCol="0" anchor="b" anchorCtr="0">
            <a:spAutoFit/>
          </a:bodyPr>
          <a:lstStyle/>
          <a:p>
            <a:pPr algn="ctr" defTabSz="946279"/>
            <a:r>
              <a:rPr lang="en-US" sz="7450" spc="-116" dirty="0">
                <a:gradFill>
                  <a:gsLst>
                    <a:gs pos="26000">
                      <a:srgbClr val="FFFFFF"/>
                    </a:gs>
                    <a:gs pos="63000">
                      <a:srgbClr val="FFFFFF"/>
                    </a:gs>
                  </a:gsLst>
                  <a:lin ang="5400000" scaled="0"/>
                </a:gradFill>
                <a:latin typeface="Segoe UI Light" pitchFamily="34" charset="0"/>
              </a:rPr>
              <a:t>TED</a:t>
            </a:r>
          </a:p>
        </p:txBody>
      </p:sp>
      <p:sp>
        <p:nvSpPr>
          <p:cNvPr id="33" name="Rectangle 32"/>
          <p:cNvSpPr/>
          <p:nvPr/>
        </p:nvSpPr>
        <p:spPr bwMode="auto">
          <a:xfrm>
            <a:off x="4296758" y="307635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15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427711" y="1841502"/>
            <a:ext cx="2715902" cy="2400663"/>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5232807" y="3282782"/>
            <a:ext cx="1741440" cy="1061377"/>
          </a:xfrm>
          <a:prstGeom prst="rect">
            <a:avLst/>
          </a:prstGeom>
          <a:noFill/>
          <a:extLst>
            <a:ext uri="{909E8E84-426E-40dd-AFC4-6F175D3DCCD1}">
              <a14:hiddenFill xmlns:a14="http://schemas.microsoft.com/office/drawing/2010/main" xmlns="">
                <a:solidFill>
                  <a:srgbClr val="FFFFFF"/>
                </a:solidFill>
              </a14:hiddenFill>
            </a:ext>
          </a:extLst>
        </p:spPr>
      </p:pic>
      <p:sp>
        <p:nvSpPr>
          <p:cNvPr id="32" name="Rectangle 31"/>
          <p:cNvSpPr/>
          <p:nvPr/>
        </p:nvSpPr>
        <p:spPr bwMode="auto">
          <a:xfrm>
            <a:off x="4296758" y="145143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20"/>
          <p:cNvSpPr>
            <a:spLocks noEditPoints="1"/>
          </p:cNvSpPr>
          <p:nvPr/>
        </p:nvSpPr>
        <p:spPr bwMode="black">
          <a:xfrm>
            <a:off x="5333974" y="2082530"/>
            <a:ext cx="717407" cy="44087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0" tIns="31739" rIns="63477" bIns="31739" numCol="1" anchor="t" anchorCtr="0" compatLnSpc="1">
            <a:prstTxWarp prst="textNoShape">
              <a:avLst/>
            </a:prstTxWarp>
          </a:bodyPr>
          <a:lstStyle/>
          <a:p>
            <a:pPr algn="ctr"/>
            <a:endParaRPr lang="en-US" sz="686" dirty="0">
              <a:gradFill>
                <a:gsLst>
                  <a:gs pos="0">
                    <a:srgbClr val="FFFFFF"/>
                  </a:gs>
                  <a:gs pos="100000">
                    <a:srgbClr val="FFFFFF"/>
                  </a:gs>
                </a:gsLst>
                <a:lin ang="5400000" scaled="0"/>
              </a:gradFill>
            </a:endParaRPr>
          </a:p>
        </p:txBody>
      </p:sp>
      <p:sp>
        <p:nvSpPr>
          <p:cNvPr id="37" name="Rounded Rectangle 6"/>
          <p:cNvSpPr/>
          <p:nvPr/>
        </p:nvSpPr>
        <p:spPr bwMode="black">
          <a:xfrm rot="16200000">
            <a:off x="4642079" y="1985184"/>
            <a:ext cx="396281" cy="63556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198"/>
            <a:endParaRPr lang="en-US" sz="1765" spc="-95" dirty="0">
              <a:gradFill>
                <a:gsLst>
                  <a:gs pos="0">
                    <a:srgbClr val="FFFFFF"/>
                  </a:gs>
                  <a:gs pos="100000">
                    <a:srgbClr val="FFFFFF"/>
                  </a:gs>
                </a:gsLst>
                <a:lin ang="5400000" scaled="0"/>
              </a:gradFill>
              <a:latin typeface="Segoe Light" pitchFamily="34" charset="0"/>
            </a:endParaRPr>
          </a:p>
        </p:txBody>
      </p:sp>
      <p:grpSp>
        <p:nvGrpSpPr>
          <p:cNvPr id="8" name="Group 7"/>
          <p:cNvGrpSpPr/>
          <p:nvPr/>
        </p:nvGrpSpPr>
        <p:grpSpPr>
          <a:xfrm>
            <a:off x="6661757" y="2070159"/>
            <a:ext cx="1080970" cy="465617"/>
            <a:chOff x="8013498" y="3139440"/>
            <a:chExt cx="1337702" cy="651864"/>
          </a:xfrm>
        </p:grpSpPr>
        <p:grpSp>
          <p:nvGrpSpPr>
            <p:cNvPr id="7" name="Group 6"/>
            <p:cNvGrpSpPr/>
            <p:nvPr userDrawn="1"/>
          </p:nvGrpSpPr>
          <p:grpSpPr>
            <a:xfrm>
              <a:off x="8013498" y="3581400"/>
              <a:ext cx="631919" cy="209904"/>
              <a:chOff x="5584401" y="7523789"/>
              <a:chExt cx="3182937" cy="1057275"/>
            </a:xfrm>
          </p:grpSpPr>
          <p:sp>
            <p:nvSpPr>
              <p:cNvPr id="5" name="Freeform 6"/>
              <p:cNvSpPr>
                <a:spLocks noEditPoints="1"/>
              </p:cNvSpPr>
              <p:nvPr userDrawn="1"/>
            </p:nvSpPr>
            <p:spPr bwMode="auto">
              <a:xfrm>
                <a:off x="5584401" y="7523789"/>
                <a:ext cx="3182937" cy="547688"/>
              </a:xfrm>
              <a:custGeom>
                <a:avLst/>
                <a:gdLst>
                  <a:gd name="T0" fmla="*/ 831 w 849"/>
                  <a:gd name="T1" fmla="*/ 0 h 146"/>
                  <a:gd name="T2" fmla="*/ 18 w 849"/>
                  <a:gd name="T3" fmla="*/ 0 h 146"/>
                  <a:gd name="T4" fmla="*/ 0 w 849"/>
                  <a:gd name="T5" fmla="*/ 18 h 146"/>
                  <a:gd name="T6" fmla="*/ 0 w 849"/>
                  <a:gd name="T7" fmla="*/ 128 h 146"/>
                  <a:gd name="T8" fmla="*/ 18 w 849"/>
                  <a:gd name="T9" fmla="*/ 146 h 146"/>
                  <a:gd name="T10" fmla="*/ 831 w 849"/>
                  <a:gd name="T11" fmla="*/ 146 h 146"/>
                  <a:gd name="T12" fmla="*/ 849 w 849"/>
                  <a:gd name="T13" fmla="*/ 128 h 146"/>
                  <a:gd name="T14" fmla="*/ 849 w 849"/>
                  <a:gd name="T15" fmla="*/ 18 h 146"/>
                  <a:gd name="T16" fmla="*/ 831 w 849"/>
                  <a:gd name="T17" fmla="*/ 0 h 146"/>
                  <a:gd name="T18" fmla="*/ 193 w 849"/>
                  <a:gd name="T19" fmla="*/ 109 h 146"/>
                  <a:gd name="T20" fmla="*/ 156 w 849"/>
                  <a:gd name="T21" fmla="*/ 73 h 146"/>
                  <a:gd name="T22" fmla="*/ 193 w 849"/>
                  <a:gd name="T23" fmla="*/ 36 h 146"/>
                  <a:gd name="T24" fmla="*/ 230 w 849"/>
                  <a:gd name="T25" fmla="*/ 73 h 146"/>
                  <a:gd name="T26" fmla="*/ 193 w 849"/>
                  <a:gd name="T27" fmla="*/ 109 h 146"/>
                  <a:gd name="T28" fmla="*/ 379 w 849"/>
                  <a:gd name="T29" fmla="*/ 109 h 146"/>
                  <a:gd name="T30" fmla="*/ 342 w 849"/>
                  <a:gd name="T31" fmla="*/ 73 h 146"/>
                  <a:gd name="T32" fmla="*/ 379 w 849"/>
                  <a:gd name="T33" fmla="*/ 36 h 146"/>
                  <a:gd name="T34" fmla="*/ 415 w 849"/>
                  <a:gd name="T35" fmla="*/ 73 h 146"/>
                  <a:gd name="T36" fmla="*/ 379 w 849"/>
                  <a:gd name="T37" fmla="*/ 109 h 146"/>
                  <a:gd name="T38" fmla="*/ 472 w 849"/>
                  <a:gd name="T39" fmla="*/ 109 h 146"/>
                  <a:gd name="T40" fmla="*/ 436 w 849"/>
                  <a:gd name="T41" fmla="*/ 73 h 146"/>
                  <a:gd name="T42" fmla="*/ 472 w 849"/>
                  <a:gd name="T43" fmla="*/ 36 h 146"/>
                  <a:gd name="T44" fmla="*/ 509 w 849"/>
                  <a:gd name="T45" fmla="*/ 73 h 146"/>
                  <a:gd name="T46" fmla="*/ 472 w 849"/>
                  <a:gd name="T47" fmla="*/ 10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9" h="146">
                    <a:moveTo>
                      <a:pt x="831" y="0"/>
                    </a:moveTo>
                    <a:cubicBezTo>
                      <a:pt x="18" y="0"/>
                      <a:pt x="18" y="0"/>
                      <a:pt x="18" y="0"/>
                    </a:cubicBezTo>
                    <a:cubicBezTo>
                      <a:pt x="8" y="0"/>
                      <a:pt x="0" y="8"/>
                      <a:pt x="0" y="18"/>
                    </a:cubicBezTo>
                    <a:cubicBezTo>
                      <a:pt x="0" y="128"/>
                      <a:pt x="0" y="128"/>
                      <a:pt x="0" y="128"/>
                    </a:cubicBezTo>
                    <a:cubicBezTo>
                      <a:pt x="0" y="138"/>
                      <a:pt x="8" y="146"/>
                      <a:pt x="18" y="146"/>
                    </a:cubicBezTo>
                    <a:cubicBezTo>
                      <a:pt x="831" y="146"/>
                      <a:pt x="831" y="146"/>
                      <a:pt x="831" y="146"/>
                    </a:cubicBezTo>
                    <a:cubicBezTo>
                      <a:pt x="841" y="146"/>
                      <a:pt x="849" y="138"/>
                      <a:pt x="849" y="128"/>
                    </a:cubicBezTo>
                    <a:cubicBezTo>
                      <a:pt x="849" y="18"/>
                      <a:pt x="849" y="18"/>
                      <a:pt x="849" y="18"/>
                    </a:cubicBezTo>
                    <a:cubicBezTo>
                      <a:pt x="849" y="8"/>
                      <a:pt x="841" y="0"/>
                      <a:pt x="831" y="0"/>
                    </a:cubicBezTo>
                    <a:close/>
                    <a:moveTo>
                      <a:pt x="193" y="109"/>
                    </a:moveTo>
                    <a:cubicBezTo>
                      <a:pt x="173" y="109"/>
                      <a:pt x="156" y="93"/>
                      <a:pt x="156" y="73"/>
                    </a:cubicBezTo>
                    <a:cubicBezTo>
                      <a:pt x="156" y="53"/>
                      <a:pt x="173" y="36"/>
                      <a:pt x="193" y="36"/>
                    </a:cubicBezTo>
                    <a:cubicBezTo>
                      <a:pt x="213" y="36"/>
                      <a:pt x="230" y="53"/>
                      <a:pt x="230" y="73"/>
                    </a:cubicBezTo>
                    <a:cubicBezTo>
                      <a:pt x="230" y="93"/>
                      <a:pt x="213" y="109"/>
                      <a:pt x="193" y="109"/>
                    </a:cubicBezTo>
                    <a:close/>
                    <a:moveTo>
                      <a:pt x="379" y="109"/>
                    </a:moveTo>
                    <a:cubicBezTo>
                      <a:pt x="359" y="109"/>
                      <a:pt x="342" y="93"/>
                      <a:pt x="342" y="73"/>
                    </a:cubicBezTo>
                    <a:cubicBezTo>
                      <a:pt x="342" y="53"/>
                      <a:pt x="359" y="36"/>
                      <a:pt x="379" y="36"/>
                    </a:cubicBezTo>
                    <a:cubicBezTo>
                      <a:pt x="399" y="36"/>
                      <a:pt x="415" y="53"/>
                      <a:pt x="415" y="73"/>
                    </a:cubicBezTo>
                    <a:cubicBezTo>
                      <a:pt x="415" y="93"/>
                      <a:pt x="399" y="109"/>
                      <a:pt x="379" y="109"/>
                    </a:cubicBezTo>
                    <a:close/>
                    <a:moveTo>
                      <a:pt x="472" y="109"/>
                    </a:moveTo>
                    <a:cubicBezTo>
                      <a:pt x="452" y="109"/>
                      <a:pt x="436" y="93"/>
                      <a:pt x="436" y="73"/>
                    </a:cubicBezTo>
                    <a:cubicBezTo>
                      <a:pt x="436" y="53"/>
                      <a:pt x="452" y="36"/>
                      <a:pt x="472" y="36"/>
                    </a:cubicBezTo>
                    <a:cubicBezTo>
                      <a:pt x="492" y="36"/>
                      <a:pt x="509" y="53"/>
                      <a:pt x="509" y="73"/>
                    </a:cubicBezTo>
                    <a:cubicBezTo>
                      <a:pt x="509" y="93"/>
                      <a:pt x="492" y="109"/>
                      <a:pt x="472" y="109"/>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6" name="Freeform 7"/>
              <p:cNvSpPr>
                <a:spLocks/>
              </p:cNvSpPr>
              <p:nvPr userDrawn="1"/>
            </p:nvSpPr>
            <p:spPr bwMode="auto">
              <a:xfrm>
                <a:off x="6594051" y="8222289"/>
                <a:ext cx="1154112" cy="358775"/>
              </a:xfrm>
              <a:custGeom>
                <a:avLst/>
                <a:gdLst>
                  <a:gd name="T0" fmla="*/ 126 w 308"/>
                  <a:gd name="T1" fmla="*/ 0 h 96"/>
                  <a:gd name="T2" fmla="*/ 97 w 308"/>
                  <a:gd name="T3" fmla="*/ 6 h 96"/>
                  <a:gd name="T4" fmla="*/ 12 w 308"/>
                  <a:gd name="T5" fmla="*/ 45 h 96"/>
                  <a:gd name="T6" fmla="*/ 3 w 308"/>
                  <a:gd name="T7" fmla="*/ 65 h 96"/>
                  <a:gd name="T8" fmla="*/ 10 w 308"/>
                  <a:gd name="T9" fmla="*/ 82 h 96"/>
                  <a:gd name="T10" fmla="*/ 30 w 308"/>
                  <a:gd name="T11" fmla="*/ 96 h 96"/>
                  <a:gd name="T12" fmla="*/ 279 w 308"/>
                  <a:gd name="T13" fmla="*/ 96 h 96"/>
                  <a:gd name="T14" fmla="*/ 299 w 308"/>
                  <a:gd name="T15" fmla="*/ 82 h 96"/>
                  <a:gd name="T16" fmla="*/ 305 w 308"/>
                  <a:gd name="T17" fmla="*/ 64 h 96"/>
                  <a:gd name="T18" fmla="*/ 296 w 308"/>
                  <a:gd name="T19" fmla="*/ 44 h 96"/>
                  <a:gd name="T20" fmla="*/ 211 w 308"/>
                  <a:gd name="T21" fmla="*/ 6 h 96"/>
                  <a:gd name="T22" fmla="*/ 182 w 308"/>
                  <a:gd name="T23" fmla="*/ 0 h 96"/>
                  <a:gd name="T24" fmla="*/ 126 w 308"/>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96">
                    <a:moveTo>
                      <a:pt x="126" y="0"/>
                    </a:moveTo>
                    <a:cubicBezTo>
                      <a:pt x="118" y="0"/>
                      <a:pt x="105" y="3"/>
                      <a:pt x="97" y="6"/>
                    </a:cubicBezTo>
                    <a:cubicBezTo>
                      <a:pt x="12" y="45"/>
                      <a:pt x="12" y="45"/>
                      <a:pt x="12" y="45"/>
                    </a:cubicBezTo>
                    <a:cubicBezTo>
                      <a:pt x="4" y="48"/>
                      <a:pt x="0" y="57"/>
                      <a:pt x="3" y="65"/>
                    </a:cubicBezTo>
                    <a:cubicBezTo>
                      <a:pt x="10" y="82"/>
                      <a:pt x="10" y="82"/>
                      <a:pt x="10" y="82"/>
                    </a:cubicBezTo>
                    <a:cubicBezTo>
                      <a:pt x="12" y="90"/>
                      <a:pt x="22" y="96"/>
                      <a:pt x="30" y="96"/>
                    </a:cubicBezTo>
                    <a:cubicBezTo>
                      <a:pt x="279" y="96"/>
                      <a:pt x="279" y="96"/>
                      <a:pt x="279" y="96"/>
                    </a:cubicBezTo>
                    <a:cubicBezTo>
                      <a:pt x="287" y="96"/>
                      <a:pt x="296" y="90"/>
                      <a:pt x="299" y="82"/>
                    </a:cubicBezTo>
                    <a:cubicBezTo>
                      <a:pt x="305" y="64"/>
                      <a:pt x="305" y="64"/>
                      <a:pt x="305" y="64"/>
                    </a:cubicBezTo>
                    <a:cubicBezTo>
                      <a:pt x="308" y="56"/>
                      <a:pt x="304" y="47"/>
                      <a:pt x="296" y="44"/>
                    </a:cubicBezTo>
                    <a:cubicBezTo>
                      <a:pt x="211" y="6"/>
                      <a:pt x="211" y="6"/>
                      <a:pt x="211" y="6"/>
                    </a:cubicBezTo>
                    <a:cubicBezTo>
                      <a:pt x="203" y="2"/>
                      <a:pt x="190" y="0"/>
                      <a:pt x="182" y="0"/>
                    </a:cubicBezTo>
                    <a:lnTo>
                      <a:pt x="126" y="0"/>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19" name="Freeform 7"/>
            <p:cNvSpPr>
              <a:spLocks noChangeAspect="1" noEditPoints="1"/>
            </p:cNvSpPr>
            <p:nvPr userDrawn="1"/>
          </p:nvSpPr>
          <p:spPr bwMode="black">
            <a:xfrm>
              <a:off x="8450794" y="3139440"/>
              <a:ext cx="900406" cy="56874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22" name="Freeform 17"/>
          <p:cNvSpPr>
            <a:spLocks noEditPoints="1"/>
          </p:cNvSpPr>
          <p:nvPr/>
        </p:nvSpPr>
        <p:spPr bwMode="auto">
          <a:xfrm>
            <a:off x="6227355" y="2076999"/>
            <a:ext cx="258424" cy="451937"/>
          </a:xfrm>
          <a:custGeom>
            <a:avLst/>
            <a:gdLst>
              <a:gd name="T0" fmla="*/ 1217 w 1337"/>
              <a:gd name="T1" fmla="*/ 0 h 2644"/>
              <a:gd name="T2" fmla="*/ 120 w 1337"/>
              <a:gd name="T3" fmla="*/ 0 h 2644"/>
              <a:gd name="T4" fmla="*/ 0 w 1337"/>
              <a:gd name="T5" fmla="*/ 120 h 2644"/>
              <a:gd name="T6" fmla="*/ 0 w 1337"/>
              <a:gd name="T7" fmla="*/ 2524 h 2644"/>
              <a:gd name="T8" fmla="*/ 120 w 1337"/>
              <a:gd name="T9" fmla="*/ 2644 h 2644"/>
              <a:gd name="T10" fmla="*/ 1217 w 1337"/>
              <a:gd name="T11" fmla="*/ 2644 h 2644"/>
              <a:gd name="T12" fmla="*/ 1337 w 1337"/>
              <a:gd name="T13" fmla="*/ 2524 h 2644"/>
              <a:gd name="T14" fmla="*/ 1337 w 1337"/>
              <a:gd name="T15" fmla="*/ 120 h 2644"/>
              <a:gd name="T16" fmla="*/ 1217 w 1337"/>
              <a:gd name="T17" fmla="*/ 0 h 2644"/>
              <a:gd name="T18" fmla="*/ 374 w 1337"/>
              <a:gd name="T19" fmla="*/ 2479 h 2644"/>
              <a:gd name="T20" fmla="*/ 102 w 1337"/>
              <a:gd name="T21" fmla="*/ 2479 h 2644"/>
              <a:gd name="T22" fmla="*/ 102 w 1337"/>
              <a:gd name="T23" fmla="*/ 2416 h 2644"/>
              <a:gd name="T24" fmla="*/ 374 w 1337"/>
              <a:gd name="T25" fmla="*/ 2416 h 2644"/>
              <a:gd name="T26" fmla="*/ 374 w 1337"/>
              <a:gd name="T27" fmla="*/ 2479 h 2644"/>
              <a:gd name="T28" fmla="*/ 653 w 1337"/>
              <a:gd name="T29" fmla="*/ 2479 h 2644"/>
              <a:gd name="T30" fmla="*/ 380 w 1337"/>
              <a:gd name="T31" fmla="*/ 2479 h 2644"/>
              <a:gd name="T32" fmla="*/ 380 w 1337"/>
              <a:gd name="T33" fmla="*/ 2416 h 2644"/>
              <a:gd name="T34" fmla="*/ 653 w 1337"/>
              <a:gd name="T35" fmla="*/ 2416 h 2644"/>
              <a:gd name="T36" fmla="*/ 653 w 1337"/>
              <a:gd name="T37" fmla="*/ 2479 h 2644"/>
              <a:gd name="T38" fmla="*/ 932 w 1337"/>
              <a:gd name="T39" fmla="*/ 2479 h 2644"/>
              <a:gd name="T40" fmla="*/ 659 w 1337"/>
              <a:gd name="T41" fmla="*/ 2479 h 2644"/>
              <a:gd name="T42" fmla="*/ 659 w 1337"/>
              <a:gd name="T43" fmla="*/ 2416 h 2644"/>
              <a:gd name="T44" fmla="*/ 932 w 1337"/>
              <a:gd name="T45" fmla="*/ 2416 h 2644"/>
              <a:gd name="T46" fmla="*/ 932 w 1337"/>
              <a:gd name="T47" fmla="*/ 2479 h 2644"/>
              <a:gd name="T48" fmla="*/ 1210 w 1337"/>
              <a:gd name="T49" fmla="*/ 2479 h 2644"/>
              <a:gd name="T50" fmla="*/ 938 w 1337"/>
              <a:gd name="T51" fmla="*/ 2479 h 2644"/>
              <a:gd name="T52" fmla="*/ 938 w 1337"/>
              <a:gd name="T53" fmla="*/ 2416 h 2644"/>
              <a:gd name="T54" fmla="*/ 1210 w 1337"/>
              <a:gd name="T55" fmla="*/ 2416 h 2644"/>
              <a:gd name="T56" fmla="*/ 1210 w 1337"/>
              <a:gd name="T57" fmla="*/ 2479 h 2644"/>
              <a:gd name="T58" fmla="*/ 1241 w 1337"/>
              <a:gd name="T59" fmla="*/ 2232 h 2644"/>
              <a:gd name="T60" fmla="*/ 84 w 1337"/>
              <a:gd name="T61" fmla="*/ 2232 h 2644"/>
              <a:gd name="T62" fmla="*/ 84 w 1337"/>
              <a:gd name="T63" fmla="*/ 214 h 2644"/>
              <a:gd name="T64" fmla="*/ 1241 w 1337"/>
              <a:gd name="T65" fmla="*/ 214 h 2644"/>
              <a:gd name="T66" fmla="*/ 1241 w 1337"/>
              <a:gd name="T67" fmla="*/ 2232 h 2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7" h="2644">
                <a:moveTo>
                  <a:pt x="1217" y="0"/>
                </a:moveTo>
                <a:cubicBezTo>
                  <a:pt x="120" y="0"/>
                  <a:pt x="120" y="0"/>
                  <a:pt x="120" y="0"/>
                </a:cubicBezTo>
                <a:cubicBezTo>
                  <a:pt x="54" y="0"/>
                  <a:pt x="0" y="54"/>
                  <a:pt x="0" y="120"/>
                </a:cubicBezTo>
                <a:cubicBezTo>
                  <a:pt x="0" y="2524"/>
                  <a:pt x="0" y="2524"/>
                  <a:pt x="0" y="2524"/>
                </a:cubicBezTo>
                <a:cubicBezTo>
                  <a:pt x="0" y="2590"/>
                  <a:pt x="54" y="2644"/>
                  <a:pt x="120" y="2644"/>
                </a:cubicBezTo>
                <a:cubicBezTo>
                  <a:pt x="1217" y="2644"/>
                  <a:pt x="1217" y="2644"/>
                  <a:pt x="1217" y="2644"/>
                </a:cubicBezTo>
                <a:cubicBezTo>
                  <a:pt x="1283" y="2644"/>
                  <a:pt x="1337" y="2590"/>
                  <a:pt x="1337" y="2524"/>
                </a:cubicBezTo>
                <a:cubicBezTo>
                  <a:pt x="1337" y="120"/>
                  <a:pt x="1337" y="120"/>
                  <a:pt x="1337" y="120"/>
                </a:cubicBezTo>
                <a:cubicBezTo>
                  <a:pt x="1337" y="54"/>
                  <a:pt x="1283" y="0"/>
                  <a:pt x="1217" y="0"/>
                </a:cubicBezTo>
                <a:close/>
                <a:moveTo>
                  <a:pt x="374" y="2479"/>
                </a:moveTo>
                <a:cubicBezTo>
                  <a:pt x="102" y="2479"/>
                  <a:pt x="102" y="2479"/>
                  <a:pt x="102" y="2479"/>
                </a:cubicBezTo>
                <a:cubicBezTo>
                  <a:pt x="102" y="2416"/>
                  <a:pt x="102" y="2416"/>
                  <a:pt x="102" y="2416"/>
                </a:cubicBezTo>
                <a:cubicBezTo>
                  <a:pt x="374" y="2416"/>
                  <a:pt x="374" y="2416"/>
                  <a:pt x="374" y="2416"/>
                </a:cubicBezTo>
                <a:lnTo>
                  <a:pt x="374" y="2479"/>
                </a:lnTo>
                <a:close/>
                <a:moveTo>
                  <a:pt x="653" y="2479"/>
                </a:moveTo>
                <a:cubicBezTo>
                  <a:pt x="380" y="2479"/>
                  <a:pt x="380" y="2479"/>
                  <a:pt x="380" y="2479"/>
                </a:cubicBezTo>
                <a:cubicBezTo>
                  <a:pt x="380" y="2416"/>
                  <a:pt x="380" y="2416"/>
                  <a:pt x="380" y="2416"/>
                </a:cubicBezTo>
                <a:cubicBezTo>
                  <a:pt x="653" y="2416"/>
                  <a:pt x="653" y="2416"/>
                  <a:pt x="653" y="2416"/>
                </a:cubicBezTo>
                <a:lnTo>
                  <a:pt x="653" y="2479"/>
                </a:lnTo>
                <a:close/>
                <a:moveTo>
                  <a:pt x="932" y="2479"/>
                </a:moveTo>
                <a:cubicBezTo>
                  <a:pt x="659" y="2479"/>
                  <a:pt x="659" y="2479"/>
                  <a:pt x="659" y="2479"/>
                </a:cubicBezTo>
                <a:cubicBezTo>
                  <a:pt x="659" y="2416"/>
                  <a:pt x="659" y="2416"/>
                  <a:pt x="659" y="2416"/>
                </a:cubicBezTo>
                <a:cubicBezTo>
                  <a:pt x="932" y="2416"/>
                  <a:pt x="932" y="2416"/>
                  <a:pt x="932" y="2416"/>
                </a:cubicBezTo>
                <a:lnTo>
                  <a:pt x="932" y="2479"/>
                </a:lnTo>
                <a:close/>
                <a:moveTo>
                  <a:pt x="1210" y="2479"/>
                </a:moveTo>
                <a:cubicBezTo>
                  <a:pt x="938" y="2479"/>
                  <a:pt x="938" y="2479"/>
                  <a:pt x="938" y="2479"/>
                </a:cubicBezTo>
                <a:cubicBezTo>
                  <a:pt x="938" y="2416"/>
                  <a:pt x="938" y="2416"/>
                  <a:pt x="938" y="2416"/>
                </a:cubicBezTo>
                <a:cubicBezTo>
                  <a:pt x="1210" y="2416"/>
                  <a:pt x="1210" y="2416"/>
                  <a:pt x="1210" y="2416"/>
                </a:cubicBezTo>
                <a:lnTo>
                  <a:pt x="1210" y="2479"/>
                </a:lnTo>
                <a:close/>
                <a:moveTo>
                  <a:pt x="1241" y="2232"/>
                </a:moveTo>
                <a:cubicBezTo>
                  <a:pt x="84" y="2232"/>
                  <a:pt x="84" y="2232"/>
                  <a:pt x="84" y="2232"/>
                </a:cubicBezTo>
                <a:cubicBezTo>
                  <a:pt x="84" y="214"/>
                  <a:pt x="84" y="214"/>
                  <a:pt x="84" y="214"/>
                </a:cubicBezTo>
                <a:cubicBezTo>
                  <a:pt x="1241" y="214"/>
                  <a:pt x="1241" y="214"/>
                  <a:pt x="1241" y="214"/>
                </a:cubicBezTo>
                <a:lnTo>
                  <a:pt x="1241" y="2232"/>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2" name="Footer Placeholder 1"/>
          <p:cNvSpPr>
            <a:spLocks noGrp="1"/>
          </p:cNvSpPr>
          <p:nvPr>
            <p:ph type="ftr" sz="quarter" idx="10"/>
          </p:nvPr>
        </p:nvSpPr>
        <p:spPr>
          <a:xfrm>
            <a:off x="90019" y="6656550"/>
            <a:ext cx="3859607" cy="154130"/>
          </a:xfrm>
          <a:prstGeom prst="rect">
            <a:avLst/>
          </a:prstGeom>
        </p:spPr>
        <p:txBody>
          <a:bodyPr/>
          <a:lstStyle/>
          <a:p>
            <a:r>
              <a:rPr lang="en-US" smtClean="0">
                <a:solidFill>
                  <a:srgbClr val="505050">
                    <a:tint val="75000"/>
                  </a:srgbClr>
                </a:solidFill>
              </a:rPr>
              <a:t>Microsoft Confidential</a:t>
            </a:r>
            <a:endParaRPr lang="en-US" dirty="0">
              <a:solidFill>
                <a:srgbClr val="505050">
                  <a:tint val="75000"/>
                </a:srgbClr>
              </a:solidFill>
            </a:endParaRPr>
          </a:p>
        </p:txBody>
      </p:sp>
      <p:sp>
        <p:nvSpPr>
          <p:cNvPr id="3" name="Slide Number Placeholder 2"/>
          <p:cNvSpPr>
            <a:spLocks noGrp="1"/>
          </p:cNvSpPr>
          <p:nvPr>
            <p:ph type="sldNum" sz="quarter" idx="11"/>
          </p:nvPr>
        </p:nvSpPr>
        <p:spPr>
          <a:xfrm>
            <a:off x="11474490" y="6656551"/>
            <a:ext cx="679506" cy="162535"/>
          </a:xfrm>
          <a:prstGeom prst="rect">
            <a:avLst/>
          </a:prstGeom>
        </p:spPr>
        <p:txBody>
          <a:bodyPr/>
          <a:lstStyle/>
          <a:p>
            <a:fld id="{337CC868-EBA7-ED47-93D7-8656571B0709}"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809788686"/>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357A087-EBDD-47AF-89FC-5E39B48BAD7F}" type="datetimeFigureOut">
              <a:rPr lang="en-US">
                <a:solidFill>
                  <a:srgbClr val="505050"/>
                </a:solidFill>
              </a:rPr>
              <a:pPr/>
              <a:t>3/27/2015</a:t>
            </a:fld>
            <a:endParaRPr lang="en-US">
              <a:solidFill>
                <a:srgbClr val="505050"/>
              </a:solidFill>
            </a:endParaRPr>
          </a:p>
        </p:txBody>
      </p:sp>
      <p:sp>
        <p:nvSpPr>
          <p:cNvPr id="6" name="Footer Placeholder 5"/>
          <p:cNvSpPr>
            <a:spLocks noGrp="1"/>
          </p:cNvSpPr>
          <p:nvPr>
            <p:ph type="ftr" sz="quarter" idx="11"/>
          </p:nvPr>
        </p:nvSpPr>
        <p:spPr/>
        <p:txBody>
          <a:bodyPr/>
          <a:lstStyle/>
          <a:p>
            <a:endParaRPr lang="en-US">
              <a:solidFill>
                <a:srgbClr val="505050">
                  <a:tint val="75000"/>
                </a:srgbClr>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232C0A4-028C-4D25-8B28-EA70D26D0177}"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3404417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1BC"/>
                </a:solidFill>
              </a:defRPr>
            </a:lvl1pPr>
          </a:lstStyle>
          <a:p>
            <a:r>
              <a:rPr lang="en-US" smtClean="0"/>
              <a:t>Click to edit Master title style</a:t>
            </a:r>
            <a:endParaRPr lang="en-US"/>
          </a:p>
        </p:txBody>
      </p:sp>
    </p:spTree>
    <p:extLst>
      <p:ext uri="{BB962C8B-B14F-4D97-AF65-F5344CB8AC3E}">
        <p14:creationId xmlns:p14="http://schemas.microsoft.com/office/powerpoint/2010/main" val="299350303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83"/>
            <a:ext cx="11653523" cy="2114068"/>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a:solidFill>
                  <a:srgbClr val="0071BC"/>
                </a:solidFill>
              </a:defRPr>
            </a:lvl1pPr>
          </a:lstStyle>
          <a:p>
            <a:r>
              <a:rPr lang="en-US" dirty="0" smtClean="0"/>
              <a:t>Click to edit Master title style</a:t>
            </a:r>
            <a:endParaRPr lang="en-US" dirty="0"/>
          </a:p>
        </p:txBody>
      </p:sp>
      <p:sp>
        <p:nvSpPr>
          <p:cNvPr id="2" name="Footer Placeholder 1"/>
          <p:cNvSpPr>
            <a:spLocks noGrp="1"/>
          </p:cNvSpPr>
          <p:nvPr>
            <p:ph type="ftr" sz="quarter" idx="11"/>
          </p:nvPr>
        </p:nvSpPr>
        <p:spPr/>
        <p:txBody>
          <a:bodyPr/>
          <a:lstStyle/>
          <a:p>
            <a:r>
              <a:rPr lang="en-US" dirty="0" smtClean="0">
                <a:solidFill>
                  <a:prstClr val="black">
                    <a:tint val="75000"/>
                  </a:prstClr>
                </a:solidFill>
              </a:rPr>
              <a:t>Microsoft Confidential</a:t>
            </a:r>
            <a:endParaRPr lang="en-US" dirty="0">
              <a:solidFill>
                <a:prstClr val="black">
                  <a:tint val="75000"/>
                </a:prstClr>
              </a:solidFill>
            </a:endParaRPr>
          </a:p>
        </p:txBody>
      </p:sp>
      <p:sp>
        <p:nvSpPr>
          <p:cNvPr id="3" name="Slide Number Placeholder 2"/>
          <p:cNvSpPr>
            <a:spLocks noGrp="1"/>
          </p:cNvSpPr>
          <p:nvPr>
            <p:ph type="sldNum" sz="quarter" idx="12"/>
          </p:nvPr>
        </p:nvSpPr>
        <p:spPr>
          <a:xfrm>
            <a:off x="11474489" y="6656567"/>
            <a:ext cx="679507" cy="162535"/>
          </a:xfrm>
          <a:prstGeom prst="rect">
            <a:avLst/>
          </a:prstGeom>
        </p:spPr>
        <p:txBody>
          <a:bodyPr/>
          <a:lstStyle/>
          <a:p>
            <a:fld id="{337CC868-EBA7-ED47-93D7-8656571B0709}"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00199641"/>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382213534"/>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2 for internal audiences">
    <p:spTree>
      <p:nvGrpSpPr>
        <p:cNvPr id="1" name=""/>
        <p:cNvGrpSpPr/>
        <p:nvPr/>
      </p:nvGrpSpPr>
      <p:grpSpPr>
        <a:xfrm>
          <a:off x="0" y="0"/>
          <a:ext cx="0" cy="0"/>
          <a:chOff x="0" y="0"/>
          <a:chExt cx="0" cy="0"/>
        </a:xfrm>
      </p:grpSpPr>
      <p:sp>
        <p:nvSpPr>
          <p:cNvPr id="18" name="Rectangle 17"/>
          <p:cNvSpPr/>
          <p:nvPr/>
        </p:nvSpPr>
        <p:spPr bwMode="auto">
          <a:xfrm>
            <a:off x="269240" y="2084172"/>
            <a:ext cx="8964248" cy="3586208"/>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795" y="2084173"/>
            <a:ext cx="8962692"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7200" y="470412"/>
            <a:ext cx="1522404" cy="326166"/>
          </a:xfrm>
          <a:prstGeom prst="rect">
            <a:avLst/>
          </a:prstGeom>
        </p:spPr>
      </p:pic>
      <p:sp>
        <p:nvSpPr>
          <p:cNvPr id="5" name="Text Placeholder 4"/>
          <p:cNvSpPr>
            <a:spLocks noGrp="1"/>
          </p:cNvSpPr>
          <p:nvPr>
            <p:ph type="body" sz="quarter" idx="12" hasCustomPrompt="1"/>
          </p:nvPr>
        </p:nvSpPr>
        <p:spPr>
          <a:xfrm>
            <a:off x="269240" y="3877272"/>
            <a:ext cx="8964248" cy="1792326"/>
          </a:xfrm>
          <a:noFill/>
        </p:spPr>
        <p:txBody>
          <a:bodyPr lIns="146304" tIns="109728" rIns="146304" bIns="109728">
            <a:noAutofit/>
          </a:bodyPr>
          <a:lstStyle>
            <a:lvl1pPr marL="0" indent="0">
              <a:spcBef>
                <a:spcPts val="0"/>
              </a:spcBef>
              <a:buNone/>
              <a:defRPr sz="3530" spc="0" baseline="0">
                <a:gradFill>
                  <a:gsLst>
                    <a:gs pos="4583">
                      <a:srgbClr val="FFFFFF"/>
                    </a:gs>
                    <a:gs pos="84000">
                      <a:srgbClr val="FFFFFF"/>
                    </a:gs>
                  </a:gsLst>
                  <a:lin ang="5400000" scaled="0"/>
                </a:gradFill>
                <a:latin typeface="+mj-lt"/>
              </a:defRPr>
            </a:lvl1pPr>
          </a:lstStyle>
          <a:p>
            <a:pPr lvl="0"/>
            <a:r>
              <a:rPr lang="en-US" dirty="0" smtClean="0"/>
              <a:t>Speaker Name</a:t>
            </a:r>
          </a:p>
        </p:txBody>
      </p:sp>
      <p:grpSp>
        <p:nvGrpSpPr>
          <p:cNvPr id="14" name="Group 13"/>
          <p:cNvGrpSpPr/>
          <p:nvPr/>
        </p:nvGrpSpPr>
        <p:grpSpPr>
          <a:xfrm>
            <a:off x="1" y="6447969"/>
            <a:ext cx="12191999" cy="410030"/>
            <a:chOff x="274603" y="6576332"/>
            <a:chExt cx="11886441" cy="274320"/>
          </a:xfrm>
        </p:grpSpPr>
        <p:sp>
          <p:nvSpPr>
            <p:cNvPr id="15"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00" spc="0">
                  <a:solidFill>
                    <a:srgbClr val="FFFFFF"/>
                  </a:solidFill>
                </a:rPr>
                <a:t>Technical Evangelism &amp; Development Team</a:t>
              </a:r>
            </a:p>
          </p:txBody>
        </p:sp>
        <p:sp>
          <p:nvSpPr>
            <p:cNvPr id="16"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X</a:t>
              </a:r>
            </a:p>
          </p:txBody>
        </p:sp>
      </p:grpSp>
    </p:spTree>
    <p:extLst>
      <p:ext uri="{BB962C8B-B14F-4D97-AF65-F5344CB8AC3E}">
        <p14:creationId xmlns:p14="http://schemas.microsoft.com/office/powerpoint/2010/main" val="3042045412"/>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191999" cy="899665"/>
          </a:xfrm>
          <a:solidFill>
            <a:srgbClr val="00188F"/>
          </a:solidFill>
        </p:spPr>
        <p:txBody>
          <a:bodyPr/>
          <a:lstStyle>
            <a:lvl1pPr>
              <a:defRPr>
                <a:solidFill>
                  <a:schemeClr val="bg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20" indent="0">
              <a:buNone/>
              <a:defRPr/>
            </a:lvl3pPr>
            <a:lvl4pPr marL="448239" indent="0">
              <a:buNone/>
              <a:defRPr/>
            </a:lvl4pPr>
            <a:lvl5pPr marL="672359"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3" name="Group 12"/>
          <p:cNvGrpSpPr/>
          <p:nvPr/>
        </p:nvGrpSpPr>
        <p:grpSpPr>
          <a:xfrm>
            <a:off x="269240" y="6447969"/>
            <a:ext cx="11654266" cy="268966"/>
            <a:chOff x="274603" y="6576332"/>
            <a:chExt cx="11886441" cy="274320"/>
          </a:xfrm>
        </p:grpSpPr>
        <p:sp>
          <p:nvSpPr>
            <p:cNvPr id="14"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569" spc="0">
                  <a:solidFill>
                    <a:srgbClr val="FFFFFF"/>
                  </a:solidFill>
                </a:rPr>
                <a:t>Partner Evangelism Team</a:t>
              </a:r>
            </a:p>
          </p:txBody>
        </p:sp>
        <p:sp>
          <p:nvSpPr>
            <p:cNvPr id="15"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PE</a:t>
              </a:r>
            </a:p>
          </p:txBody>
        </p:sp>
      </p:grpSp>
      <p:grpSp>
        <p:nvGrpSpPr>
          <p:cNvPr id="16" name="Group 15"/>
          <p:cNvGrpSpPr/>
          <p:nvPr/>
        </p:nvGrpSpPr>
        <p:grpSpPr>
          <a:xfrm>
            <a:off x="1" y="6447969"/>
            <a:ext cx="12191999" cy="410030"/>
            <a:chOff x="274603" y="6576332"/>
            <a:chExt cx="11886441" cy="274320"/>
          </a:xfrm>
        </p:grpSpPr>
        <p:sp>
          <p:nvSpPr>
            <p:cNvPr id="17"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67" spc="0">
                  <a:solidFill>
                    <a:srgbClr val="FFFFFF"/>
                  </a:solidFill>
                </a:rPr>
                <a:t>Technical Evangelism &amp; Development Team</a:t>
              </a:r>
            </a:p>
          </p:txBody>
        </p:sp>
        <p:sp>
          <p:nvSpPr>
            <p:cNvPr id="18"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Tree>
    <p:extLst>
      <p:ext uri="{BB962C8B-B14F-4D97-AF65-F5344CB8AC3E}">
        <p14:creationId xmlns:p14="http://schemas.microsoft.com/office/powerpoint/2010/main" val="1680647492"/>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80" tIns="146304" rIns="182880" bIns="146304">
            <a:noAutofit/>
          </a:bodyPr>
          <a:lstStyle>
            <a:lvl1pPr marL="0" indent="0">
              <a:spcBef>
                <a:spcPts val="0"/>
              </a:spcBef>
              <a:buNone/>
              <a:defRPr sz="35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3128737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2988079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86528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357A087-EBDD-47AF-89FC-5E39B48BAD7F}" type="datetimeFigureOut">
              <a:rPr lang="en-US">
                <a:solidFill>
                  <a:srgbClr val="505050"/>
                </a:solidFill>
              </a:rPr>
              <a:pPr/>
              <a:t>3/27/2015</a:t>
            </a:fld>
            <a:endParaRPr lang="en-US">
              <a:solidFill>
                <a:srgbClr val="505050"/>
              </a:solidFill>
            </a:endParaRPr>
          </a:p>
        </p:txBody>
      </p:sp>
      <p:sp>
        <p:nvSpPr>
          <p:cNvPr id="6" name="Footer Placeholder 5"/>
          <p:cNvSpPr>
            <a:spLocks noGrp="1"/>
          </p:cNvSpPr>
          <p:nvPr>
            <p:ph type="ftr" sz="quarter" idx="11"/>
          </p:nvPr>
        </p:nvSpPr>
        <p:spPr/>
        <p:txBody>
          <a:bodyPr/>
          <a:lstStyle/>
          <a:p>
            <a:endParaRPr lang="en-US">
              <a:solidFill>
                <a:srgbClr val="505050">
                  <a:tint val="75000"/>
                </a:srgbClr>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232C0A4-028C-4D25-8B28-EA70D26D0177}"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34044174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cSld name="3_WALKIN - Prints in GRAYSCALE">
    <p:bg bwMode="ltGray">
      <p:bgPr>
        <a:solidFill>
          <a:schemeClr val="bg1"/>
        </a:solidFill>
        <a:effectLst/>
      </p:bgPr>
    </p:bg>
    <p:spTree>
      <p:nvGrpSpPr>
        <p:cNvPr id="1" name=""/>
        <p:cNvGrpSpPr/>
        <p:nvPr/>
      </p:nvGrpSpPr>
      <p:grpSpPr>
        <a:xfrm>
          <a:off x="0" y="0"/>
          <a:ext cx="0" cy="0"/>
          <a:chOff x="0" y="0"/>
          <a:chExt cx="0" cy="0"/>
        </a:xfrm>
      </p:grpSpPr>
      <p:sp>
        <p:nvSpPr>
          <p:cNvPr id="29" name="Rectangle 28"/>
          <p:cNvSpPr/>
          <p:nvPr/>
        </p:nvSpPr>
        <p:spPr bwMode="auto">
          <a:xfrm>
            <a:off x="7986422"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607094"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607094" y="3233551"/>
            <a:ext cx="3598488" cy="1398685"/>
          </a:xfrm>
          <a:prstGeom prst="rect">
            <a:avLst/>
          </a:prstGeom>
          <a:noFill/>
        </p:spPr>
        <p:txBody>
          <a:bodyPr wrap="square" lIns="75692" tIns="37846" rIns="75692" bIns="211644" rtlCol="0" anchor="b" anchorCtr="0">
            <a:spAutoFit/>
          </a:bodyPr>
          <a:lstStyle/>
          <a:p>
            <a:pPr algn="ctr" defTabSz="946279"/>
            <a:r>
              <a:rPr lang="en-US" sz="7450" spc="-116" dirty="0">
                <a:gradFill>
                  <a:gsLst>
                    <a:gs pos="26000">
                      <a:srgbClr val="FFFFFF"/>
                    </a:gs>
                    <a:gs pos="63000">
                      <a:srgbClr val="FFFFFF"/>
                    </a:gs>
                  </a:gsLst>
                  <a:lin ang="5400000" scaled="0"/>
                </a:gradFill>
                <a:latin typeface="Segoe UI Light" pitchFamily="34" charset="0"/>
              </a:rPr>
              <a:t>TED</a:t>
            </a:r>
          </a:p>
        </p:txBody>
      </p:sp>
      <p:sp>
        <p:nvSpPr>
          <p:cNvPr id="33" name="Rectangle 32"/>
          <p:cNvSpPr/>
          <p:nvPr/>
        </p:nvSpPr>
        <p:spPr bwMode="auto">
          <a:xfrm>
            <a:off x="4296758" y="307635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15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427711" y="1841502"/>
            <a:ext cx="2715902" cy="2400663"/>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5232807" y="3282782"/>
            <a:ext cx="1741440" cy="1061377"/>
          </a:xfrm>
          <a:prstGeom prst="rect">
            <a:avLst/>
          </a:prstGeom>
          <a:noFill/>
          <a:extLst>
            <a:ext uri="{909E8E84-426E-40dd-AFC4-6F175D3DCCD1}">
              <a14:hiddenFill xmlns:a14="http://schemas.microsoft.com/office/drawing/2010/main" xmlns="">
                <a:solidFill>
                  <a:srgbClr val="FFFFFF"/>
                </a:solidFill>
              </a14:hiddenFill>
            </a:ext>
          </a:extLst>
        </p:spPr>
      </p:pic>
      <p:sp>
        <p:nvSpPr>
          <p:cNvPr id="32" name="Rectangle 31"/>
          <p:cNvSpPr/>
          <p:nvPr/>
        </p:nvSpPr>
        <p:spPr bwMode="auto">
          <a:xfrm>
            <a:off x="4296758" y="145143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20"/>
          <p:cNvSpPr>
            <a:spLocks noEditPoints="1"/>
          </p:cNvSpPr>
          <p:nvPr/>
        </p:nvSpPr>
        <p:spPr bwMode="black">
          <a:xfrm>
            <a:off x="5333974" y="2082530"/>
            <a:ext cx="717407" cy="44087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0" tIns="31739" rIns="63477" bIns="31739" numCol="1" anchor="t" anchorCtr="0" compatLnSpc="1">
            <a:prstTxWarp prst="textNoShape">
              <a:avLst/>
            </a:prstTxWarp>
          </a:bodyPr>
          <a:lstStyle/>
          <a:p>
            <a:pPr algn="ctr"/>
            <a:endParaRPr lang="en-US" sz="686" dirty="0">
              <a:gradFill>
                <a:gsLst>
                  <a:gs pos="0">
                    <a:srgbClr val="FFFFFF"/>
                  </a:gs>
                  <a:gs pos="100000">
                    <a:srgbClr val="FFFFFF"/>
                  </a:gs>
                </a:gsLst>
                <a:lin ang="5400000" scaled="0"/>
              </a:gradFill>
            </a:endParaRPr>
          </a:p>
        </p:txBody>
      </p:sp>
      <p:sp>
        <p:nvSpPr>
          <p:cNvPr id="37" name="Rounded Rectangle 6"/>
          <p:cNvSpPr/>
          <p:nvPr/>
        </p:nvSpPr>
        <p:spPr bwMode="black">
          <a:xfrm rot="16200000">
            <a:off x="4642079" y="1985184"/>
            <a:ext cx="396281" cy="63556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198"/>
            <a:endParaRPr lang="en-US" sz="1765" spc="-95" dirty="0">
              <a:gradFill>
                <a:gsLst>
                  <a:gs pos="0">
                    <a:srgbClr val="FFFFFF"/>
                  </a:gs>
                  <a:gs pos="100000">
                    <a:srgbClr val="FFFFFF"/>
                  </a:gs>
                </a:gsLst>
                <a:lin ang="5400000" scaled="0"/>
              </a:gradFill>
              <a:latin typeface="Segoe Light" pitchFamily="34" charset="0"/>
            </a:endParaRPr>
          </a:p>
        </p:txBody>
      </p:sp>
      <p:grpSp>
        <p:nvGrpSpPr>
          <p:cNvPr id="8" name="Group 7"/>
          <p:cNvGrpSpPr/>
          <p:nvPr/>
        </p:nvGrpSpPr>
        <p:grpSpPr>
          <a:xfrm>
            <a:off x="6661757" y="2070159"/>
            <a:ext cx="1080970" cy="465617"/>
            <a:chOff x="8013498" y="3139440"/>
            <a:chExt cx="1337702" cy="651864"/>
          </a:xfrm>
        </p:grpSpPr>
        <p:grpSp>
          <p:nvGrpSpPr>
            <p:cNvPr id="7" name="Group 6"/>
            <p:cNvGrpSpPr/>
            <p:nvPr userDrawn="1"/>
          </p:nvGrpSpPr>
          <p:grpSpPr>
            <a:xfrm>
              <a:off x="8013498" y="3581400"/>
              <a:ext cx="631919" cy="209904"/>
              <a:chOff x="5584401" y="7523789"/>
              <a:chExt cx="3182937" cy="1057275"/>
            </a:xfrm>
          </p:grpSpPr>
          <p:sp>
            <p:nvSpPr>
              <p:cNvPr id="5" name="Freeform 6"/>
              <p:cNvSpPr>
                <a:spLocks noEditPoints="1"/>
              </p:cNvSpPr>
              <p:nvPr userDrawn="1"/>
            </p:nvSpPr>
            <p:spPr bwMode="auto">
              <a:xfrm>
                <a:off x="5584401" y="7523789"/>
                <a:ext cx="3182937" cy="547688"/>
              </a:xfrm>
              <a:custGeom>
                <a:avLst/>
                <a:gdLst>
                  <a:gd name="T0" fmla="*/ 831 w 849"/>
                  <a:gd name="T1" fmla="*/ 0 h 146"/>
                  <a:gd name="T2" fmla="*/ 18 w 849"/>
                  <a:gd name="T3" fmla="*/ 0 h 146"/>
                  <a:gd name="T4" fmla="*/ 0 w 849"/>
                  <a:gd name="T5" fmla="*/ 18 h 146"/>
                  <a:gd name="T6" fmla="*/ 0 w 849"/>
                  <a:gd name="T7" fmla="*/ 128 h 146"/>
                  <a:gd name="T8" fmla="*/ 18 w 849"/>
                  <a:gd name="T9" fmla="*/ 146 h 146"/>
                  <a:gd name="T10" fmla="*/ 831 w 849"/>
                  <a:gd name="T11" fmla="*/ 146 h 146"/>
                  <a:gd name="T12" fmla="*/ 849 w 849"/>
                  <a:gd name="T13" fmla="*/ 128 h 146"/>
                  <a:gd name="T14" fmla="*/ 849 w 849"/>
                  <a:gd name="T15" fmla="*/ 18 h 146"/>
                  <a:gd name="T16" fmla="*/ 831 w 849"/>
                  <a:gd name="T17" fmla="*/ 0 h 146"/>
                  <a:gd name="T18" fmla="*/ 193 w 849"/>
                  <a:gd name="T19" fmla="*/ 109 h 146"/>
                  <a:gd name="T20" fmla="*/ 156 w 849"/>
                  <a:gd name="T21" fmla="*/ 73 h 146"/>
                  <a:gd name="T22" fmla="*/ 193 w 849"/>
                  <a:gd name="T23" fmla="*/ 36 h 146"/>
                  <a:gd name="T24" fmla="*/ 230 w 849"/>
                  <a:gd name="T25" fmla="*/ 73 h 146"/>
                  <a:gd name="T26" fmla="*/ 193 w 849"/>
                  <a:gd name="T27" fmla="*/ 109 h 146"/>
                  <a:gd name="T28" fmla="*/ 379 w 849"/>
                  <a:gd name="T29" fmla="*/ 109 h 146"/>
                  <a:gd name="T30" fmla="*/ 342 w 849"/>
                  <a:gd name="T31" fmla="*/ 73 h 146"/>
                  <a:gd name="T32" fmla="*/ 379 w 849"/>
                  <a:gd name="T33" fmla="*/ 36 h 146"/>
                  <a:gd name="T34" fmla="*/ 415 w 849"/>
                  <a:gd name="T35" fmla="*/ 73 h 146"/>
                  <a:gd name="T36" fmla="*/ 379 w 849"/>
                  <a:gd name="T37" fmla="*/ 109 h 146"/>
                  <a:gd name="T38" fmla="*/ 472 w 849"/>
                  <a:gd name="T39" fmla="*/ 109 h 146"/>
                  <a:gd name="T40" fmla="*/ 436 w 849"/>
                  <a:gd name="T41" fmla="*/ 73 h 146"/>
                  <a:gd name="T42" fmla="*/ 472 w 849"/>
                  <a:gd name="T43" fmla="*/ 36 h 146"/>
                  <a:gd name="T44" fmla="*/ 509 w 849"/>
                  <a:gd name="T45" fmla="*/ 73 h 146"/>
                  <a:gd name="T46" fmla="*/ 472 w 849"/>
                  <a:gd name="T47" fmla="*/ 10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9" h="146">
                    <a:moveTo>
                      <a:pt x="831" y="0"/>
                    </a:moveTo>
                    <a:cubicBezTo>
                      <a:pt x="18" y="0"/>
                      <a:pt x="18" y="0"/>
                      <a:pt x="18" y="0"/>
                    </a:cubicBezTo>
                    <a:cubicBezTo>
                      <a:pt x="8" y="0"/>
                      <a:pt x="0" y="8"/>
                      <a:pt x="0" y="18"/>
                    </a:cubicBezTo>
                    <a:cubicBezTo>
                      <a:pt x="0" y="128"/>
                      <a:pt x="0" y="128"/>
                      <a:pt x="0" y="128"/>
                    </a:cubicBezTo>
                    <a:cubicBezTo>
                      <a:pt x="0" y="138"/>
                      <a:pt x="8" y="146"/>
                      <a:pt x="18" y="146"/>
                    </a:cubicBezTo>
                    <a:cubicBezTo>
                      <a:pt x="831" y="146"/>
                      <a:pt x="831" y="146"/>
                      <a:pt x="831" y="146"/>
                    </a:cubicBezTo>
                    <a:cubicBezTo>
                      <a:pt x="841" y="146"/>
                      <a:pt x="849" y="138"/>
                      <a:pt x="849" y="128"/>
                    </a:cubicBezTo>
                    <a:cubicBezTo>
                      <a:pt x="849" y="18"/>
                      <a:pt x="849" y="18"/>
                      <a:pt x="849" y="18"/>
                    </a:cubicBezTo>
                    <a:cubicBezTo>
                      <a:pt x="849" y="8"/>
                      <a:pt x="841" y="0"/>
                      <a:pt x="831" y="0"/>
                    </a:cubicBezTo>
                    <a:close/>
                    <a:moveTo>
                      <a:pt x="193" y="109"/>
                    </a:moveTo>
                    <a:cubicBezTo>
                      <a:pt x="173" y="109"/>
                      <a:pt x="156" y="93"/>
                      <a:pt x="156" y="73"/>
                    </a:cubicBezTo>
                    <a:cubicBezTo>
                      <a:pt x="156" y="53"/>
                      <a:pt x="173" y="36"/>
                      <a:pt x="193" y="36"/>
                    </a:cubicBezTo>
                    <a:cubicBezTo>
                      <a:pt x="213" y="36"/>
                      <a:pt x="230" y="53"/>
                      <a:pt x="230" y="73"/>
                    </a:cubicBezTo>
                    <a:cubicBezTo>
                      <a:pt x="230" y="93"/>
                      <a:pt x="213" y="109"/>
                      <a:pt x="193" y="109"/>
                    </a:cubicBezTo>
                    <a:close/>
                    <a:moveTo>
                      <a:pt x="379" y="109"/>
                    </a:moveTo>
                    <a:cubicBezTo>
                      <a:pt x="359" y="109"/>
                      <a:pt x="342" y="93"/>
                      <a:pt x="342" y="73"/>
                    </a:cubicBezTo>
                    <a:cubicBezTo>
                      <a:pt x="342" y="53"/>
                      <a:pt x="359" y="36"/>
                      <a:pt x="379" y="36"/>
                    </a:cubicBezTo>
                    <a:cubicBezTo>
                      <a:pt x="399" y="36"/>
                      <a:pt x="415" y="53"/>
                      <a:pt x="415" y="73"/>
                    </a:cubicBezTo>
                    <a:cubicBezTo>
                      <a:pt x="415" y="93"/>
                      <a:pt x="399" y="109"/>
                      <a:pt x="379" y="109"/>
                    </a:cubicBezTo>
                    <a:close/>
                    <a:moveTo>
                      <a:pt x="472" y="109"/>
                    </a:moveTo>
                    <a:cubicBezTo>
                      <a:pt x="452" y="109"/>
                      <a:pt x="436" y="93"/>
                      <a:pt x="436" y="73"/>
                    </a:cubicBezTo>
                    <a:cubicBezTo>
                      <a:pt x="436" y="53"/>
                      <a:pt x="452" y="36"/>
                      <a:pt x="472" y="36"/>
                    </a:cubicBezTo>
                    <a:cubicBezTo>
                      <a:pt x="492" y="36"/>
                      <a:pt x="509" y="53"/>
                      <a:pt x="509" y="73"/>
                    </a:cubicBezTo>
                    <a:cubicBezTo>
                      <a:pt x="509" y="93"/>
                      <a:pt x="492" y="109"/>
                      <a:pt x="472" y="109"/>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6" name="Freeform 7"/>
              <p:cNvSpPr>
                <a:spLocks/>
              </p:cNvSpPr>
              <p:nvPr userDrawn="1"/>
            </p:nvSpPr>
            <p:spPr bwMode="auto">
              <a:xfrm>
                <a:off x="6594051" y="8222289"/>
                <a:ext cx="1154112" cy="358775"/>
              </a:xfrm>
              <a:custGeom>
                <a:avLst/>
                <a:gdLst>
                  <a:gd name="T0" fmla="*/ 126 w 308"/>
                  <a:gd name="T1" fmla="*/ 0 h 96"/>
                  <a:gd name="T2" fmla="*/ 97 w 308"/>
                  <a:gd name="T3" fmla="*/ 6 h 96"/>
                  <a:gd name="T4" fmla="*/ 12 w 308"/>
                  <a:gd name="T5" fmla="*/ 45 h 96"/>
                  <a:gd name="T6" fmla="*/ 3 w 308"/>
                  <a:gd name="T7" fmla="*/ 65 h 96"/>
                  <a:gd name="T8" fmla="*/ 10 w 308"/>
                  <a:gd name="T9" fmla="*/ 82 h 96"/>
                  <a:gd name="T10" fmla="*/ 30 w 308"/>
                  <a:gd name="T11" fmla="*/ 96 h 96"/>
                  <a:gd name="T12" fmla="*/ 279 w 308"/>
                  <a:gd name="T13" fmla="*/ 96 h 96"/>
                  <a:gd name="T14" fmla="*/ 299 w 308"/>
                  <a:gd name="T15" fmla="*/ 82 h 96"/>
                  <a:gd name="T16" fmla="*/ 305 w 308"/>
                  <a:gd name="T17" fmla="*/ 64 h 96"/>
                  <a:gd name="T18" fmla="*/ 296 w 308"/>
                  <a:gd name="T19" fmla="*/ 44 h 96"/>
                  <a:gd name="T20" fmla="*/ 211 w 308"/>
                  <a:gd name="T21" fmla="*/ 6 h 96"/>
                  <a:gd name="T22" fmla="*/ 182 w 308"/>
                  <a:gd name="T23" fmla="*/ 0 h 96"/>
                  <a:gd name="T24" fmla="*/ 126 w 308"/>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96">
                    <a:moveTo>
                      <a:pt x="126" y="0"/>
                    </a:moveTo>
                    <a:cubicBezTo>
                      <a:pt x="118" y="0"/>
                      <a:pt x="105" y="3"/>
                      <a:pt x="97" y="6"/>
                    </a:cubicBezTo>
                    <a:cubicBezTo>
                      <a:pt x="12" y="45"/>
                      <a:pt x="12" y="45"/>
                      <a:pt x="12" y="45"/>
                    </a:cubicBezTo>
                    <a:cubicBezTo>
                      <a:pt x="4" y="48"/>
                      <a:pt x="0" y="57"/>
                      <a:pt x="3" y="65"/>
                    </a:cubicBezTo>
                    <a:cubicBezTo>
                      <a:pt x="10" y="82"/>
                      <a:pt x="10" y="82"/>
                      <a:pt x="10" y="82"/>
                    </a:cubicBezTo>
                    <a:cubicBezTo>
                      <a:pt x="12" y="90"/>
                      <a:pt x="22" y="96"/>
                      <a:pt x="30" y="96"/>
                    </a:cubicBezTo>
                    <a:cubicBezTo>
                      <a:pt x="279" y="96"/>
                      <a:pt x="279" y="96"/>
                      <a:pt x="279" y="96"/>
                    </a:cubicBezTo>
                    <a:cubicBezTo>
                      <a:pt x="287" y="96"/>
                      <a:pt x="296" y="90"/>
                      <a:pt x="299" y="82"/>
                    </a:cubicBezTo>
                    <a:cubicBezTo>
                      <a:pt x="305" y="64"/>
                      <a:pt x="305" y="64"/>
                      <a:pt x="305" y="64"/>
                    </a:cubicBezTo>
                    <a:cubicBezTo>
                      <a:pt x="308" y="56"/>
                      <a:pt x="304" y="47"/>
                      <a:pt x="296" y="44"/>
                    </a:cubicBezTo>
                    <a:cubicBezTo>
                      <a:pt x="211" y="6"/>
                      <a:pt x="211" y="6"/>
                      <a:pt x="211" y="6"/>
                    </a:cubicBezTo>
                    <a:cubicBezTo>
                      <a:pt x="203" y="2"/>
                      <a:pt x="190" y="0"/>
                      <a:pt x="182" y="0"/>
                    </a:cubicBezTo>
                    <a:lnTo>
                      <a:pt x="126" y="0"/>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19" name="Freeform 7"/>
            <p:cNvSpPr>
              <a:spLocks noChangeAspect="1" noEditPoints="1"/>
            </p:cNvSpPr>
            <p:nvPr userDrawn="1"/>
          </p:nvSpPr>
          <p:spPr bwMode="black">
            <a:xfrm>
              <a:off x="8450794" y="3139440"/>
              <a:ext cx="900406" cy="56874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22" name="Freeform 17"/>
          <p:cNvSpPr>
            <a:spLocks noEditPoints="1"/>
          </p:cNvSpPr>
          <p:nvPr/>
        </p:nvSpPr>
        <p:spPr bwMode="auto">
          <a:xfrm>
            <a:off x="6227355" y="2076999"/>
            <a:ext cx="258424" cy="451937"/>
          </a:xfrm>
          <a:custGeom>
            <a:avLst/>
            <a:gdLst>
              <a:gd name="T0" fmla="*/ 1217 w 1337"/>
              <a:gd name="T1" fmla="*/ 0 h 2644"/>
              <a:gd name="T2" fmla="*/ 120 w 1337"/>
              <a:gd name="T3" fmla="*/ 0 h 2644"/>
              <a:gd name="T4" fmla="*/ 0 w 1337"/>
              <a:gd name="T5" fmla="*/ 120 h 2644"/>
              <a:gd name="T6" fmla="*/ 0 w 1337"/>
              <a:gd name="T7" fmla="*/ 2524 h 2644"/>
              <a:gd name="T8" fmla="*/ 120 w 1337"/>
              <a:gd name="T9" fmla="*/ 2644 h 2644"/>
              <a:gd name="T10" fmla="*/ 1217 w 1337"/>
              <a:gd name="T11" fmla="*/ 2644 h 2644"/>
              <a:gd name="T12" fmla="*/ 1337 w 1337"/>
              <a:gd name="T13" fmla="*/ 2524 h 2644"/>
              <a:gd name="T14" fmla="*/ 1337 w 1337"/>
              <a:gd name="T15" fmla="*/ 120 h 2644"/>
              <a:gd name="T16" fmla="*/ 1217 w 1337"/>
              <a:gd name="T17" fmla="*/ 0 h 2644"/>
              <a:gd name="T18" fmla="*/ 374 w 1337"/>
              <a:gd name="T19" fmla="*/ 2479 h 2644"/>
              <a:gd name="T20" fmla="*/ 102 w 1337"/>
              <a:gd name="T21" fmla="*/ 2479 h 2644"/>
              <a:gd name="T22" fmla="*/ 102 w 1337"/>
              <a:gd name="T23" fmla="*/ 2416 h 2644"/>
              <a:gd name="T24" fmla="*/ 374 w 1337"/>
              <a:gd name="T25" fmla="*/ 2416 h 2644"/>
              <a:gd name="T26" fmla="*/ 374 w 1337"/>
              <a:gd name="T27" fmla="*/ 2479 h 2644"/>
              <a:gd name="T28" fmla="*/ 653 w 1337"/>
              <a:gd name="T29" fmla="*/ 2479 h 2644"/>
              <a:gd name="T30" fmla="*/ 380 w 1337"/>
              <a:gd name="T31" fmla="*/ 2479 h 2644"/>
              <a:gd name="T32" fmla="*/ 380 w 1337"/>
              <a:gd name="T33" fmla="*/ 2416 h 2644"/>
              <a:gd name="T34" fmla="*/ 653 w 1337"/>
              <a:gd name="T35" fmla="*/ 2416 h 2644"/>
              <a:gd name="T36" fmla="*/ 653 w 1337"/>
              <a:gd name="T37" fmla="*/ 2479 h 2644"/>
              <a:gd name="T38" fmla="*/ 932 w 1337"/>
              <a:gd name="T39" fmla="*/ 2479 h 2644"/>
              <a:gd name="T40" fmla="*/ 659 w 1337"/>
              <a:gd name="T41" fmla="*/ 2479 h 2644"/>
              <a:gd name="T42" fmla="*/ 659 w 1337"/>
              <a:gd name="T43" fmla="*/ 2416 h 2644"/>
              <a:gd name="T44" fmla="*/ 932 w 1337"/>
              <a:gd name="T45" fmla="*/ 2416 h 2644"/>
              <a:gd name="T46" fmla="*/ 932 w 1337"/>
              <a:gd name="T47" fmla="*/ 2479 h 2644"/>
              <a:gd name="T48" fmla="*/ 1210 w 1337"/>
              <a:gd name="T49" fmla="*/ 2479 h 2644"/>
              <a:gd name="T50" fmla="*/ 938 w 1337"/>
              <a:gd name="T51" fmla="*/ 2479 h 2644"/>
              <a:gd name="T52" fmla="*/ 938 w 1337"/>
              <a:gd name="T53" fmla="*/ 2416 h 2644"/>
              <a:gd name="T54" fmla="*/ 1210 w 1337"/>
              <a:gd name="T55" fmla="*/ 2416 h 2644"/>
              <a:gd name="T56" fmla="*/ 1210 w 1337"/>
              <a:gd name="T57" fmla="*/ 2479 h 2644"/>
              <a:gd name="T58" fmla="*/ 1241 w 1337"/>
              <a:gd name="T59" fmla="*/ 2232 h 2644"/>
              <a:gd name="T60" fmla="*/ 84 w 1337"/>
              <a:gd name="T61" fmla="*/ 2232 h 2644"/>
              <a:gd name="T62" fmla="*/ 84 w 1337"/>
              <a:gd name="T63" fmla="*/ 214 h 2644"/>
              <a:gd name="T64" fmla="*/ 1241 w 1337"/>
              <a:gd name="T65" fmla="*/ 214 h 2644"/>
              <a:gd name="T66" fmla="*/ 1241 w 1337"/>
              <a:gd name="T67" fmla="*/ 2232 h 2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7" h="2644">
                <a:moveTo>
                  <a:pt x="1217" y="0"/>
                </a:moveTo>
                <a:cubicBezTo>
                  <a:pt x="120" y="0"/>
                  <a:pt x="120" y="0"/>
                  <a:pt x="120" y="0"/>
                </a:cubicBezTo>
                <a:cubicBezTo>
                  <a:pt x="54" y="0"/>
                  <a:pt x="0" y="54"/>
                  <a:pt x="0" y="120"/>
                </a:cubicBezTo>
                <a:cubicBezTo>
                  <a:pt x="0" y="2524"/>
                  <a:pt x="0" y="2524"/>
                  <a:pt x="0" y="2524"/>
                </a:cubicBezTo>
                <a:cubicBezTo>
                  <a:pt x="0" y="2590"/>
                  <a:pt x="54" y="2644"/>
                  <a:pt x="120" y="2644"/>
                </a:cubicBezTo>
                <a:cubicBezTo>
                  <a:pt x="1217" y="2644"/>
                  <a:pt x="1217" y="2644"/>
                  <a:pt x="1217" y="2644"/>
                </a:cubicBezTo>
                <a:cubicBezTo>
                  <a:pt x="1283" y="2644"/>
                  <a:pt x="1337" y="2590"/>
                  <a:pt x="1337" y="2524"/>
                </a:cubicBezTo>
                <a:cubicBezTo>
                  <a:pt x="1337" y="120"/>
                  <a:pt x="1337" y="120"/>
                  <a:pt x="1337" y="120"/>
                </a:cubicBezTo>
                <a:cubicBezTo>
                  <a:pt x="1337" y="54"/>
                  <a:pt x="1283" y="0"/>
                  <a:pt x="1217" y="0"/>
                </a:cubicBezTo>
                <a:close/>
                <a:moveTo>
                  <a:pt x="374" y="2479"/>
                </a:moveTo>
                <a:cubicBezTo>
                  <a:pt x="102" y="2479"/>
                  <a:pt x="102" y="2479"/>
                  <a:pt x="102" y="2479"/>
                </a:cubicBezTo>
                <a:cubicBezTo>
                  <a:pt x="102" y="2416"/>
                  <a:pt x="102" y="2416"/>
                  <a:pt x="102" y="2416"/>
                </a:cubicBezTo>
                <a:cubicBezTo>
                  <a:pt x="374" y="2416"/>
                  <a:pt x="374" y="2416"/>
                  <a:pt x="374" y="2416"/>
                </a:cubicBezTo>
                <a:lnTo>
                  <a:pt x="374" y="2479"/>
                </a:lnTo>
                <a:close/>
                <a:moveTo>
                  <a:pt x="653" y="2479"/>
                </a:moveTo>
                <a:cubicBezTo>
                  <a:pt x="380" y="2479"/>
                  <a:pt x="380" y="2479"/>
                  <a:pt x="380" y="2479"/>
                </a:cubicBezTo>
                <a:cubicBezTo>
                  <a:pt x="380" y="2416"/>
                  <a:pt x="380" y="2416"/>
                  <a:pt x="380" y="2416"/>
                </a:cubicBezTo>
                <a:cubicBezTo>
                  <a:pt x="653" y="2416"/>
                  <a:pt x="653" y="2416"/>
                  <a:pt x="653" y="2416"/>
                </a:cubicBezTo>
                <a:lnTo>
                  <a:pt x="653" y="2479"/>
                </a:lnTo>
                <a:close/>
                <a:moveTo>
                  <a:pt x="932" y="2479"/>
                </a:moveTo>
                <a:cubicBezTo>
                  <a:pt x="659" y="2479"/>
                  <a:pt x="659" y="2479"/>
                  <a:pt x="659" y="2479"/>
                </a:cubicBezTo>
                <a:cubicBezTo>
                  <a:pt x="659" y="2416"/>
                  <a:pt x="659" y="2416"/>
                  <a:pt x="659" y="2416"/>
                </a:cubicBezTo>
                <a:cubicBezTo>
                  <a:pt x="932" y="2416"/>
                  <a:pt x="932" y="2416"/>
                  <a:pt x="932" y="2416"/>
                </a:cubicBezTo>
                <a:lnTo>
                  <a:pt x="932" y="2479"/>
                </a:lnTo>
                <a:close/>
                <a:moveTo>
                  <a:pt x="1210" y="2479"/>
                </a:moveTo>
                <a:cubicBezTo>
                  <a:pt x="938" y="2479"/>
                  <a:pt x="938" y="2479"/>
                  <a:pt x="938" y="2479"/>
                </a:cubicBezTo>
                <a:cubicBezTo>
                  <a:pt x="938" y="2416"/>
                  <a:pt x="938" y="2416"/>
                  <a:pt x="938" y="2416"/>
                </a:cubicBezTo>
                <a:cubicBezTo>
                  <a:pt x="1210" y="2416"/>
                  <a:pt x="1210" y="2416"/>
                  <a:pt x="1210" y="2416"/>
                </a:cubicBezTo>
                <a:lnTo>
                  <a:pt x="1210" y="2479"/>
                </a:lnTo>
                <a:close/>
                <a:moveTo>
                  <a:pt x="1241" y="2232"/>
                </a:moveTo>
                <a:cubicBezTo>
                  <a:pt x="84" y="2232"/>
                  <a:pt x="84" y="2232"/>
                  <a:pt x="84" y="2232"/>
                </a:cubicBezTo>
                <a:cubicBezTo>
                  <a:pt x="84" y="214"/>
                  <a:pt x="84" y="214"/>
                  <a:pt x="84" y="214"/>
                </a:cubicBezTo>
                <a:cubicBezTo>
                  <a:pt x="1241" y="214"/>
                  <a:pt x="1241" y="214"/>
                  <a:pt x="1241" y="214"/>
                </a:cubicBezTo>
                <a:lnTo>
                  <a:pt x="1241" y="2232"/>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2" name="Footer Placeholder 1"/>
          <p:cNvSpPr>
            <a:spLocks noGrp="1"/>
          </p:cNvSpPr>
          <p:nvPr>
            <p:ph type="ftr" sz="quarter" idx="10"/>
          </p:nvPr>
        </p:nvSpPr>
        <p:spPr>
          <a:xfrm>
            <a:off x="90019" y="6656550"/>
            <a:ext cx="3859607" cy="154130"/>
          </a:xfrm>
          <a:prstGeom prst="rect">
            <a:avLst/>
          </a:prstGeom>
        </p:spPr>
        <p:txBody>
          <a:bodyPr/>
          <a:lstStyle/>
          <a:p>
            <a:r>
              <a:rPr lang="en-US" smtClean="0">
                <a:solidFill>
                  <a:srgbClr val="505050">
                    <a:tint val="75000"/>
                  </a:srgbClr>
                </a:solidFill>
              </a:rPr>
              <a:t>Microsoft Confidential</a:t>
            </a:r>
            <a:endParaRPr lang="en-US" dirty="0">
              <a:solidFill>
                <a:srgbClr val="505050">
                  <a:tint val="75000"/>
                </a:srgbClr>
              </a:solidFill>
            </a:endParaRPr>
          </a:p>
        </p:txBody>
      </p:sp>
      <p:sp>
        <p:nvSpPr>
          <p:cNvPr id="3" name="Slide Number Placeholder 2"/>
          <p:cNvSpPr>
            <a:spLocks noGrp="1"/>
          </p:cNvSpPr>
          <p:nvPr>
            <p:ph type="sldNum" sz="quarter" idx="11"/>
          </p:nvPr>
        </p:nvSpPr>
        <p:spPr>
          <a:xfrm>
            <a:off x="11474490" y="6656551"/>
            <a:ext cx="679506" cy="162535"/>
          </a:xfrm>
          <a:prstGeom prst="rect">
            <a:avLst/>
          </a:prstGeom>
        </p:spPr>
        <p:txBody>
          <a:bodyPr/>
          <a:lstStyle/>
          <a:p>
            <a:fld id="{337CC868-EBA7-ED47-93D7-8656571B0709}"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809788686"/>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357A087-EBDD-47AF-89FC-5E39B48BAD7F}" type="datetimeFigureOut">
              <a:rPr lang="en-US">
                <a:solidFill>
                  <a:srgbClr val="505050"/>
                </a:solidFill>
              </a:rPr>
              <a:pPr/>
              <a:t>3/27/2015</a:t>
            </a:fld>
            <a:endParaRPr lang="en-US">
              <a:solidFill>
                <a:srgbClr val="505050"/>
              </a:solidFill>
            </a:endParaRPr>
          </a:p>
        </p:txBody>
      </p:sp>
      <p:sp>
        <p:nvSpPr>
          <p:cNvPr id="6" name="Footer Placeholder 5"/>
          <p:cNvSpPr>
            <a:spLocks noGrp="1"/>
          </p:cNvSpPr>
          <p:nvPr>
            <p:ph type="ftr" sz="quarter" idx="11"/>
          </p:nvPr>
        </p:nvSpPr>
        <p:spPr/>
        <p:txBody>
          <a:bodyPr/>
          <a:lstStyle/>
          <a:p>
            <a:endParaRPr lang="en-US">
              <a:solidFill>
                <a:srgbClr val="505050">
                  <a:tint val="75000"/>
                </a:srgbClr>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232C0A4-028C-4D25-8B28-EA70D26D0177}"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34044174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1BC"/>
                </a:solidFill>
              </a:defRPr>
            </a:lvl1pPr>
          </a:lstStyle>
          <a:p>
            <a:r>
              <a:rPr lang="en-US" smtClean="0"/>
              <a:t>Click to edit Master title style</a:t>
            </a:r>
            <a:endParaRPr lang="en-US"/>
          </a:p>
        </p:txBody>
      </p:sp>
    </p:spTree>
    <p:extLst>
      <p:ext uri="{BB962C8B-B14F-4D97-AF65-F5344CB8AC3E}">
        <p14:creationId xmlns:p14="http://schemas.microsoft.com/office/powerpoint/2010/main" val="299350303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83"/>
            <a:ext cx="11653523" cy="2114068"/>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a:solidFill>
                  <a:srgbClr val="0071BC"/>
                </a:solidFill>
              </a:defRPr>
            </a:lvl1pPr>
          </a:lstStyle>
          <a:p>
            <a:r>
              <a:rPr lang="en-US" dirty="0" smtClean="0"/>
              <a:t>Click to edit Master title style</a:t>
            </a:r>
            <a:endParaRPr lang="en-US" dirty="0"/>
          </a:p>
        </p:txBody>
      </p:sp>
      <p:sp>
        <p:nvSpPr>
          <p:cNvPr id="2" name="Footer Placeholder 1"/>
          <p:cNvSpPr>
            <a:spLocks noGrp="1"/>
          </p:cNvSpPr>
          <p:nvPr>
            <p:ph type="ftr" sz="quarter" idx="11"/>
          </p:nvPr>
        </p:nvSpPr>
        <p:spPr/>
        <p:txBody>
          <a:bodyPr/>
          <a:lstStyle/>
          <a:p>
            <a:r>
              <a:rPr lang="en-US" dirty="0" smtClean="0">
                <a:solidFill>
                  <a:prstClr val="black">
                    <a:tint val="75000"/>
                  </a:prstClr>
                </a:solidFill>
              </a:rPr>
              <a:t>Microsoft Confidential</a:t>
            </a:r>
            <a:endParaRPr lang="en-US" dirty="0">
              <a:solidFill>
                <a:prstClr val="black">
                  <a:tint val="75000"/>
                </a:prstClr>
              </a:solidFill>
            </a:endParaRPr>
          </a:p>
        </p:txBody>
      </p:sp>
      <p:sp>
        <p:nvSpPr>
          <p:cNvPr id="3" name="Slide Number Placeholder 2"/>
          <p:cNvSpPr>
            <a:spLocks noGrp="1"/>
          </p:cNvSpPr>
          <p:nvPr>
            <p:ph type="sldNum" sz="quarter" idx="12"/>
          </p:nvPr>
        </p:nvSpPr>
        <p:spPr>
          <a:xfrm>
            <a:off x="11474489" y="6656567"/>
            <a:ext cx="679507" cy="162535"/>
          </a:xfrm>
          <a:prstGeom prst="rect">
            <a:avLst/>
          </a:prstGeom>
        </p:spPr>
        <p:txBody>
          <a:bodyPr/>
          <a:lstStyle/>
          <a:p>
            <a:fld id="{337CC868-EBA7-ED47-93D7-8656571B0709}"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00199641"/>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382213534"/>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2 for internal audiences">
    <p:spTree>
      <p:nvGrpSpPr>
        <p:cNvPr id="1" name=""/>
        <p:cNvGrpSpPr/>
        <p:nvPr/>
      </p:nvGrpSpPr>
      <p:grpSpPr>
        <a:xfrm>
          <a:off x="0" y="0"/>
          <a:ext cx="0" cy="0"/>
          <a:chOff x="0" y="0"/>
          <a:chExt cx="0" cy="0"/>
        </a:xfrm>
      </p:grpSpPr>
      <p:sp>
        <p:nvSpPr>
          <p:cNvPr id="18" name="Rectangle 17"/>
          <p:cNvSpPr/>
          <p:nvPr/>
        </p:nvSpPr>
        <p:spPr bwMode="auto">
          <a:xfrm>
            <a:off x="269240" y="2084172"/>
            <a:ext cx="8964248" cy="3586208"/>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795" y="2084173"/>
            <a:ext cx="8962692"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7200" y="470412"/>
            <a:ext cx="1522404" cy="326166"/>
          </a:xfrm>
          <a:prstGeom prst="rect">
            <a:avLst/>
          </a:prstGeom>
        </p:spPr>
      </p:pic>
      <p:sp>
        <p:nvSpPr>
          <p:cNvPr id="5" name="Text Placeholder 4"/>
          <p:cNvSpPr>
            <a:spLocks noGrp="1"/>
          </p:cNvSpPr>
          <p:nvPr>
            <p:ph type="body" sz="quarter" idx="12" hasCustomPrompt="1"/>
          </p:nvPr>
        </p:nvSpPr>
        <p:spPr>
          <a:xfrm>
            <a:off x="269240" y="3877272"/>
            <a:ext cx="8964248" cy="1792326"/>
          </a:xfrm>
          <a:noFill/>
        </p:spPr>
        <p:txBody>
          <a:bodyPr lIns="146304" tIns="109728" rIns="146304" bIns="109728">
            <a:noAutofit/>
          </a:bodyPr>
          <a:lstStyle>
            <a:lvl1pPr marL="0" indent="0">
              <a:spcBef>
                <a:spcPts val="0"/>
              </a:spcBef>
              <a:buNone/>
              <a:defRPr sz="3530" spc="0" baseline="0">
                <a:gradFill>
                  <a:gsLst>
                    <a:gs pos="4583">
                      <a:srgbClr val="FFFFFF"/>
                    </a:gs>
                    <a:gs pos="84000">
                      <a:srgbClr val="FFFFFF"/>
                    </a:gs>
                  </a:gsLst>
                  <a:lin ang="5400000" scaled="0"/>
                </a:gradFill>
                <a:latin typeface="+mj-lt"/>
              </a:defRPr>
            </a:lvl1pPr>
          </a:lstStyle>
          <a:p>
            <a:pPr lvl="0"/>
            <a:r>
              <a:rPr lang="en-US" dirty="0" smtClean="0"/>
              <a:t>Speaker Name</a:t>
            </a:r>
          </a:p>
        </p:txBody>
      </p:sp>
      <p:grpSp>
        <p:nvGrpSpPr>
          <p:cNvPr id="14" name="Group 13"/>
          <p:cNvGrpSpPr/>
          <p:nvPr/>
        </p:nvGrpSpPr>
        <p:grpSpPr>
          <a:xfrm>
            <a:off x="1" y="6447969"/>
            <a:ext cx="12191999" cy="410030"/>
            <a:chOff x="274603" y="6576332"/>
            <a:chExt cx="11886441" cy="274320"/>
          </a:xfrm>
        </p:grpSpPr>
        <p:sp>
          <p:nvSpPr>
            <p:cNvPr id="15"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00" spc="0">
                  <a:solidFill>
                    <a:srgbClr val="FFFFFF"/>
                  </a:solidFill>
                </a:rPr>
                <a:t>Technical Evangelism &amp; Development Team</a:t>
              </a:r>
            </a:p>
          </p:txBody>
        </p:sp>
        <p:sp>
          <p:nvSpPr>
            <p:cNvPr id="16"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X</a:t>
              </a:r>
            </a:p>
          </p:txBody>
        </p:sp>
      </p:grpSp>
    </p:spTree>
    <p:extLst>
      <p:ext uri="{BB962C8B-B14F-4D97-AF65-F5344CB8AC3E}">
        <p14:creationId xmlns:p14="http://schemas.microsoft.com/office/powerpoint/2010/main" val="3042045412"/>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191999" cy="899665"/>
          </a:xfrm>
          <a:solidFill>
            <a:srgbClr val="00188F"/>
          </a:solidFill>
        </p:spPr>
        <p:txBody>
          <a:bodyPr/>
          <a:lstStyle>
            <a:lvl1pPr>
              <a:defRPr>
                <a:solidFill>
                  <a:schemeClr val="bg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20" indent="0">
              <a:buNone/>
              <a:defRPr/>
            </a:lvl3pPr>
            <a:lvl4pPr marL="448239" indent="0">
              <a:buNone/>
              <a:defRPr/>
            </a:lvl4pPr>
            <a:lvl5pPr marL="672359"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3" name="Group 12"/>
          <p:cNvGrpSpPr/>
          <p:nvPr/>
        </p:nvGrpSpPr>
        <p:grpSpPr>
          <a:xfrm>
            <a:off x="269240" y="6447969"/>
            <a:ext cx="11654266" cy="268966"/>
            <a:chOff x="274603" y="6576332"/>
            <a:chExt cx="11886441" cy="274320"/>
          </a:xfrm>
        </p:grpSpPr>
        <p:sp>
          <p:nvSpPr>
            <p:cNvPr id="14"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569" spc="0">
                  <a:solidFill>
                    <a:srgbClr val="FFFFFF"/>
                  </a:solidFill>
                </a:rPr>
                <a:t>Partner Evangelism Team</a:t>
              </a:r>
            </a:p>
          </p:txBody>
        </p:sp>
        <p:sp>
          <p:nvSpPr>
            <p:cNvPr id="15"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569" spc="0">
                  <a:solidFill>
                    <a:srgbClr val="FFFFFF"/>
                  </a:solidFill>
                </a:rPr>
                <a:t> DPE</a:t>
              </a:r>
            </a:p>
          </p:txBody>
        </p:sp>
      </p:grpSp>
      <p:grpSp>
        <p:nvGrpSpPr>
          <p:cNvPr id="16" name="Group 15"/>
          <p:cNvGrpSpPr/>
          <p:nvPr/>
        </p:nvGrpSpPr>
        <p:grpSpPr>
          <a:xfrm>
            <a:off x="1" y="6447969"/>
            <a:ext cx="12191999" cy="410030"/>
            <a:chOff x="274603" y="6576332"/>
            <a:chExt cx="11886441" cy="274320"/>
          </a:xfrm>
        </p:grpSpPr>
        <p:sp>
          <p:nvSpPr>
            <p:cNvPr id="17"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defRPr/>
              </a:pPr>
              <a:r>
                <a:rPr sz="1667" spc="0">
                  <a:solidFill>
                    <a:srgbClr val="FFFFFF"/>
                  </a:solidFill>
                </a:rPr>
                <a:t>Technical Evangelism &amp; Development Team</a:t>
              </a:r>
            </a:p>
          </p:txBody>
        </p:sp>
        <p:sp>
          <p:nvSpPr>
            <p:cNvPr id="18"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Tree>
    <p:extLst>
      <p:ext uri="{BB962C8B-B14F-4D97-AF65-F5344CB8AC3E}">
        <p14:creationId xmlns:p14="http://schemas.microsoft.com/office/powerpoint/2010/main" val="168064749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80" tIns="146304" rIns="182880" bIns="146304">
            <a:noAutofit/>
          </a:bodyPr>
          <a:lstStyle>
            <a:lvl1pPr marL="0" indent="0">
              <a:spcBef>
                <a:spcPts val="0"/>
              </a:spcBef>
              <a:buNone/>
              <a:defRPr sz="35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31287370"/>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9"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29880796"/>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86528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1BC"/>
                </a:solidFill>
              </a:defRPr>
            </a:lvl1pPr>
          </a:lstStyle>
          <a:p>
            <a:r>
              <a:rPr lang="en-US" smtClean="0"/>
              <a:t>Click to edit Master title style</a:t>
            </a:r>
            <a:endParaRPr lang="en-US"/>
          </a:p>
        </p:txBody>
      </p:sp>
    </p:spTree>
    <p:extLst>
      <p:ext uri="{BB962C8B-B14F-4D97-AF65-F5344CB8AC3E}">
        <p14:creationId xmlns:p14="http://schemas.microsoft.com/office/powerpoint/2010/main" val="2993503031"/>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cSld name="3_WALKIN - Prints in GRAYSCALE">
    <p:bg bwMode="ltGray">
      <p:bgPr>
        <a:solidFill>
          <a:schemeClr val="bg1"/>
        </a:solidFill>
        <a:effectLst/>
      </p:bgPr>
    </p:bg>
    <p:spTree>
      <p:nvGrpSpPr>
        <p:cNvPr id="1" name=""/>
        <p:cNvGrpSpPr/>
        <p:nvPr/>
      </p:nvGrpSpPr>
      <p:grpSpPr>
        <a:xfrm>
          <a:off x="0" y="0"/>
          <a:ext cx="0" cy="0"/>
          <a:chOff x="0" y="0"/>
          <a:chExt cx="0" cy="0"/>
        </a:xfrm>
      </p:grpSpPr>
      <p:sp>
        <p:nvSpPr>
          <p:cNvPr id="29" name="Rectangle 28"/>
          <p:cNvSpPr/>
          <p:nvPr/>
        </p:nvSpPr>
        <p:spPr bwMode="auto">
          <a:xfrm>
            <a:off x="7986422"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607094" y="1451430"/>
            <a:ext cx="3598487" cy="318080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607094" y="3233551"/>
            <a:ext cx="3598488" cy="1398685"/>
          </a:xfrm>
          <a:prstGeom prst="rect">
            <a:avLst/>
          </a:prstGeom>
          <a:noFill/>
        </p:spPr>
        <p:txBody>
          <a:bodyPr wrap="square" lIns="75692" tIns="37846" rIns="75692" bIns="211644" rtlCol="0" anchor="b" anchorCtr="0">
            <a:spAutoFit/>
          </a:bodyPr>
          <a:lstStyle/>
          <a:p>
            <a:pPr algn="ctr" defTabSz="946279"/>
            <a:r>
              <a:rPr lang="en-US" sz="7450" spc="-116" dirty="0">
                <a:gradFill>
                  <a:gsLst>
                    <a:gs pos="26000">
                      <a:srgbClr val="FFFFFF"/>
                    </a:gs>
                    <a:gs pos="63000">
                      <a:srgbClr val="FFFFFF"/>
                    </a:gs>
                  </a:gsLst>
                  <a:lin ang="5400000" scaled="0"/>
                </a:gradFill>
                <a:latin typeface="Segoe UI Light" pitchFamily="34" charset="0"/>
              </a:rPr>
              <a:t>TED</a:t>
            </a:r>
          </a:p>
        </p:txBody>
      </p:sp>
      <p:sp>
        <p:nvSpPr>
          <p:cNvPr id="33" name="Rectangle 32"/>
          <p:cNvSpPr/>
          <p:nvPr/>
        </p:nvSpPr>
        <p:spPr bwMode="auto">
          <a:xfrm>
            <a:off x="4296758" y="307635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15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427711" y="1841502"/>
            <a:ext cx="2715902" cy="2400663"/>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5232807" y="3282782"/>
            <a:ext cx="1741440" cy="1061377"/>
          </a:xfrm>
          <a:prstGeom prst="rect">
            <a:avLst/>
          </a:prstGeom>
          <a:noFill/>
          <a:extLst>
            <a:ext uri="{909E8E84-426E-40dd-AFC4-6F175D3DCCD1}">
              <a14:hiddenFill xmlns:a14="http://schemas.microsoft.com/office/drawing/2010/main" xmlns="">
                <a:solidFill>
                  <a:srgbClr val="FFFFFF"/>
                </a:solidFill>
              </a14:hiddenFill>
            </a:ext>
          </a:extLst>
        </p:spPr>
      </p:pic>
      <p:sp>
        <p:nvSpPr>
          <p:cNvPr id="32" name="Rectangle 31"/>
          <p:cNvSpPr/>
          <p:nvPr/>
        </p:nvSpPr>
        <p:spPr bwMode="auto">
          <a:xfrm>
            <a:off x="4296758" y="1451431"/>
            <a:ext cx="3598487" cy="1555885"/>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257" tIns="35257" rIns="35257" bIns="35257" numCol="1" spcCol="0" rtlCol="0" fromWordArt="0" anchor="b" anchorCtr="0" forceAA="0" compatLnSpc="1">
            <a:prstTxWarp prst="textNoShape">
              <a:avLst/>
            </a:prstTxWarp>
            <a:noAutofit/>
          </a:bodyPr>
          <a:lstStyle/>
          <a:p>
            <a:pPr defTabSz="704878" fontAlgn="base">
              <a:spcBef>
                <a:spcPct val="0"/>
              </a:spcBef>
              <a:spcAft>
                <a:spcPct val="0"/>
              </a:spcAft>
            </a:pPr>
            <a:endParaRPr lang="en-US" sz="147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20"/>
          <p:cNvSpPr>
            <a:spLocks noEditPoints="1"/>
          </p:cNvSpPr>
          <p:nvPr/>
        </p:nvSpPr>
        <p:spPr bwMode="black">
          <a:xfrm>
            <a:off x="5333974" y="2082530"/>
            <a:ext cx="717407" cy="44087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0" tIns="31739" rIns="63477" bIns="31739" numCol="1" anchor="t" anchorCtr="0" compatLnSpc="1">
            <a:prstTxWarp prst="textNoShape">
              <a:avLst/>
            </a:prstTxWarp>
          </a:bodyPr>
          <a:lstStyle/>
          <a:p>
            <a:pPr algn="ctr"/>
            <a:endParaRPr lang="en-US" sz="686" dirty="0">
              <a:gradFill>
                <a:gsLst>
                  <a:gs pos="0">
                    <a:srgbClr val="FFFFFF"/>
                  </a:gs>
                  <a:gs pos="100000">
                    <a:srgbClr val="FFFFFF"/>
                  </a:gs>
                </a:gsLst>
                <a:lin ang="5400000" scaled="0"/>
              </a:gradFill>
            </a:endParaRPr>
          </a:p>
        </p:txBody>
      </p:sp>
      <p:sp>
        <p:nvSpPr>
          <p:cNvPr id="37" name="Rounded Rectangle 6"/>
          <p:cNvSpPr/>
          <p:nvPr/>
        </p:nvSpPr>
        <p:spPr bwMode="black">
          <a:xfrm rot="16200000">
            <a:off x="4642079" y="1985184"/>
            <a:ext cx="396281" cy="63556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198"/>
            <a:endParaRPr lang="en-US" sz="1765" spc="-95" dirty="0">
              <a:gradFill>
                <a:gsLst>
                  <a:gs pos="0">
                    <a:srgbClr val="FFFFFF"/>
                  </a:gs>
                  <a:gs pos="100000">
                    <a:srgbClr val="FFFFFF"/>
                  </a:gs>
                </a:gsLst>
                <a:lin ang="5400000" scaled="0"/>
              </a:gradFill>
              <a:latin typeface="Segoe Light" pitchFamily="34" charset="0"/>
            </a:endParaRPr>
          </a:p>
        </p:txBody>
      </p:sp>
      <p:grpSp>
        <p:nvGrpSpPr>
          <p:cNvPr id="8" name="Group 7"/>
          <p:cNvGrpSpPr/>
          <p:nvPr/>
        </p:nvGrpSpPr>
        <p:grpSpPr>
          <a:xfrm>
            <a:off x="6661757" y="2070159"/>
            <a:ext cx="1080970" cy="465617"/>
            <a:chOff x="8013498" y="3139440"/>
            <a:chExt cx="1337702" cy="651864"/>
          </a:xfrm>
        </p:grpSpPr>
        <p:grpSp>
          <p:nvGrpSpPr>
            <p:cNvPr id="7" name="Group 6"/>
            <p:cNvGrpSpPr/>
            <p:nvPr userDrawn="1"/>
          </p:nvGrpSpPr>
          <p:grpSpPr>
            <a:xfrm>
              <a:off x="8013498" y="3581400"/>
              <a:ext cx="631919" cy="209904"/>
              <a:chOff x="5584401" y="7523789"/>
              <a:chExt cx="3182937" cy="1057275"/>
            </a:xfrm>
          </p:grpSpPr>
          <p:sp>
            <p:nvSpPr>
              <p:cNvPr id="5" name="Freeform 6"/>
              <p:cNvSpPr>
                <a:spLocks noEditPoints="1"/>
              </p:cNvSpPr>
              <p:nvPr userDrawn="1"/>
            </p:nvSpPr>
            <p:spPr bwMode="auto">
              <a:xfrm>
                <a:off x="5584401" y="7523789"/>
                <a:ext cx="3182937" cy="547688"/>
              </a:xfrm>
              <a:custGeom>
                <a:avLst/>
                <a:gdLst>
                  <a:gd name="T0" fmla="*/ 831 w 849"/>
                  <a:gd name="T1" fmla="*/ 0 h 146"/>
                  <a:gd name="T2" fmla="*/ 18 w 849"/>
                  <a:gd name="T3" fmla="*/ 0 h 146"/>
                  <a:gd name="T4" fmla="*/ 0 w 849"/>
                  <a:gd name="T5" fmla="*/ 18 h 146"/>
                  <a:gd name="T6" fmla="*/ 0 w 849"/>
                  <a:gd name="T7" fmla="*/ 128 h 146"/>
                  <a:gd name="T8" fmla="*/ 18 w 849"/>
                  <a:gd name="T9" fmla="*/ 146 h 146"/>
                  <a:gd name="T10" fmla="*/ 831 w 849"/>
                  <a:gd name="T11" fmla="*/ 146 h 146"/>
                  <a:gd name="T12" fmla="*/ 849 w 849"/>
                  <a:gd name="T13" fmla="*/ 128 h 146"/>
                  <a:gd name="T14" fmla="*/ 849 w 849"/>
                  <a:gd name="T15" fmla="*/ 18 h 146"/>
                  <a:gd name="T16" fmla="*/ 831 w 849"/>
                  <a:gd name="T17" fmla="*/ 0 h 146"/>
                  <a:gd name="T18" fmla="*/ 193 w 849"/>
                  <a:gd name="T19" fmla="*/ 109 h 146"/>
                  <a:gd name="T20" fmla="*/ 156 w 849"/>
                  <a:gd name="T21" fmla="*/ 73 h 146"/>
                  <a:gd name="T22" fmla="*/ 193 w 849"/>
                  <a:gd name="T23" fmla="*/ 36 h 146"/>
                  <a:gd name="T24" fmla="*/ 230 w 849"/>
                  <a:gd name="T25" fmla="*/ 73 h 146"/>
                  <a:gd name="T26" fmla="*/ 193 w 849"/>
                  <a:gd name="T27" fmla="*/ 109 h 146"/>
                  <a:gd name="T28" fmla="*/ 379 w 849"/>
                  <a:gd name="T29" fmla="*/ 109 h 146"/>
                  <a:gd name="T30" fmla="*/ 342 w 849"/>
                  <a:gd name="T31" fmla="*/ 73 h 146"/>
                  <a:gd name="T32" fmla="*/ 379 w 849"/>
                  <a:gd name="T33" fmla="*/ 36 h 146"/>
                  <a:gd name="T34" fmla="*/ 415 w 849"/>
                  <a:gd name="T35" fmla="*/ 73 h 146"/>
                  <a:gd name="T36" fmla="*/ 379 w 849"/>
                  <a:gd name="T37" fmla="*/ 109 h 146"/>
                  <a:gd name="T38" fmla="*/ 472 w 849"/>
                  <a:gd name="T39" fmla="*/ 109 h 146"/>
                  <a:gd name="T40" fmla="*/ 436 w 849"/>
                  <a:gd name="T41" fmla="*/ 73 h 146"/>
                  <a:gd name="T42" fmla="*/ 472 w 849"/>
                  <a:gd name="T43" fmla="*/ 36 h 146"/>
                  <a:gd name="T44" fmla="*/ 509 w 849"/>
                  <a:gd name="T45" fmla="*/ 73 h 146"/>
                  <a:gd name="T46" fmla="*/ 472 w 849"/>
                  <a:gd name="T47" fmla="*/ 10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9" h="146">
                    <a:moveTo>
                      <a:pt x="831" y="0"/>
                    </a:moveTo>
                    <a:cubicBezTo>
                      <a:pt x="18" y="0"/>
                      <a:pt x="18" y="0"/>
                      <a:pt x="18" y="0"/>
                    </a:cubicBezTo>
                    <a:cubicBezTo>
                      <a:pt x="8" y="0"/>
                      <a:pt x="0" y="8"/>
                      <a:pt x="0" y="18"/>
                    </a:cubicBezTo>
                    <a:cubicBezTo>
                      <a:pt x="0" y="128"/>
                      <a:pt x="0" y="128"/>
                      <a:pt x="0" y="128"/>
                    </a:cubicBezTo>
                    <a:cubicBezTo>
                      <a:pt x="0" y="138"/>
                      <a:pt x="8" y="146"/>
                      <a:pt x="18" y="146"/>
                    </a:cubicBezTo>
                    <a:cubicBezTo>
                      <a:pt x="831" y="146"/>
                      <a:pt x="831" y="146"/>
                      <a:pt x="831" y="146"/>
                    </a:cubicBezTo>
                    <a:cubicBezTo>
                      <a:pt x="841" y="146"/>
                      <a:pt x="849" y="138"/>
                      <a:pt x="849" y="128"/>
                    </a:cubicBezTo>
                    <a:cubicBezTo>
                      <a:pt x="849" y="18"/>
                      <a:pt x="849" y="18"/>
                      <a:pt x="849" y="18"/>
                    </a:cubicBezTo>
                    <a:cubicBezTo>
                      <a:pt x="849" y="8"/>
                      <a:pt x="841" y="0"/>
                      <a:pt x="831" y="0"/>
                    </a:cubicBezTo>
                    <a:close/>
                    <a:moveTo>
                      <a:pt x="193" y="109"/>
                    </a:moveTo>
                    <a:cubicBezTo>
                      <a:pt x="173" y="109"/>
                      <a:pt x="156" y="93"/>
                      <a:pt x="156" y="73"/>
                    </a:cubicBezTo>
                    <a:cubicBezTo>
                      <a:pt x="156" y="53"/>
                      <a:pt x="173" y="36"/>
                      <a:pt x="193" y="36"/>
                    </a:cubicBezTo>
                    <a:cubicBezTo>
                      <a:pt x="213" y="36"/>
                      <a:pt x="230" y="53"/>
                      <a:pt x="230" y="73"/>
                    </a:cubicBezTo>
                    <a:cubicBezTo>
                      <a:pt x="230" y="93"/>
                      <a:pt x="213" y="109"/>
                      <a:pt x="193" y="109"/>
                    </a:cubicBezTo>
                    <a:close/>
                    <a:moveTo>
                      <a:pt x="379" y="109"/>
                    </a:moveTo>
                    <a:cubicBezTo>
                      <a:pt x="359" y="109"/>
                      <a:pt x="342" y="93"/>
                      <a:pt x="342" y="73"/>
                    </a:cubicBezTo>
                    <a:cubicBezTo>
                      <a:pt x="342" y="53"/>
                      <a:pt x="359" y="36"/>
                      <a:pt x="379" y="36"/>
                    </a:cubicBezTo>
                    <a:cubicBezTo>
                      <a:pt x="399" y="36"/>
                      <a:pt x="415" y="53"/>
                      <a:pt x="415" y="73"/>
                    </a:cubicBezTo>
                    <a:cubicBezTo>
                      <a:pt x="415" y="93"/>
                      <a:pt x="399" y="109"/>
                      <a:pt x="379" y="109"/>
                    </a:cubicBezTo>
                    <a:close/>
                    <a:moveTo>
                      <a:pt x="472" y="109"/>
                    </a:moveTo>
                    <a:cubicBezTo>
                      <a:pt x="452" y="109"/>
                      <a:pt x="436" y="93"/>
                      <a:pt x="436" y="73"/>
                    </a:cubicBezTo>
                    <a:cubicBezTo>
                      <a:pt x="436" y="53"/>
                      <a:pt x="452" y="36"/>
                      <a:pt x="472" y="36"/>
                    </a:cubicBezTo>
                    <a:cubicBezTo>
                      <a:pt x="492" y="36"/>
                      <a:pt x="509" y="53"/>
                      <a:pt x="509" y="73"/>
                    </a:cubicBezTo>
                    <a:cubicBezTo>
                      <a:pt x="509" y="93"/>
                      <a:pt x="492" y="109"/>
                      <a:pt x="472" y="109"/>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6" name="Freeform 7"/>
              <p:cNvSpPr>
                <a:spLocks/>
              </p:cNvSpPr>
              <p:nvPr userDrawn="1"/>
            </p:nvSpPr>
            <p:spPr bwMode="auto">
              <a:xfrm>
                <a:off x="6594051" y="8222289"/>
                <a:ext cx="1154112" cy="358775"/>
              </a:xfrm>
              <a:custGeom>
                <a:avLst/>
                <a:gdLst>
                  <a:gd name="T0" fmla="*/ 126 w 308"/>
                  <a:gd name="T1" fmla="*/ 0 h 96"/>
                  <a:gd name="T2" fmla="*/ 97 w 308"/>
                  <a:gd name="T3" fmla="*/ 6 h 96"/>
                  <a:gd name="T4" fmla="*/ 12 w 308"/>
                  <a:gd name="T5" fmla="*/ 45 h 96"/>
                  <a:gd name="T6" fmla="*/ 3 w 308"/>
                  <a:gd name="T7" fmla="*/ 65 h 96"/>
                  <a:gd name="T8" fmla="*/ 10 w 308"/>
                  <a:gd name="T9" fmla="*/ 82 h 96"/>
                  <a:gd name="T10" fmla="*/ 30 w 308"/>
                  <a:gd name="T11" fmla="*/ 96 h 96"/>
                  <a:gd name="T12" fmla="*/ 279 w 308"/>
                  <a:gd name="T13" fmla="*/ 96 h 96"/>
                  <a:gd name="T14" fmla="*/ 299 w 308"/>
                  <a:gd name="T15" fmla="*/ 82 h 96"/>
                  <a:gd name="T16" fmla="*/ 305 w 308"/>
                  <a:gd name="T17" fmla="*/ 64 h 96"/>
                  <a:gd name="T18" fmla="*/ 296 w 308"/>
                  <a:gd name="T19" fmla="*/ 44 h 96"/>
                  <a:gd name="T20" fmla="*/ 211 w 308"/>
                  <a:gd name="T21" fmla="*/ 6 h 96"/>
                  <a:gd name="T22" fmla="*/ 182 w 308"/>
                  <a:gd name="T23" fmla="*/ 0 h 96"/>
                  <a:gd name="T24" fmla="*/ 126 w 308"/>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96">
                    <a:moveTo>
                      <a:pt x="126" y="0"/>
                    </a:moveTo>
                    <a:cubicBezTo>
                      <a:pt x="118" y="0"/>
                      <a:pt x="105" y="3"/>
                      <a:pt x="97" y="6"/>
                    </a:cubicBezTo>
                    <a:cubicBezTo>
                      <a:pt x="12" y="45"/>
                      <a:pt x="12" y="45"/>
                      <a:pt x="12" y="45"/>
                    </a:cubicBezTo>
                    <a:cubicBezTo>
                      <a:pt x="4" y="48"/>
                      <a:pt x="0" y="57"/>
                      <a:pt x="3" y="65"/>
                    </a:cubicBezTo>
                    <a:cubicBezTo>
                      <a:pt x="10" y="82"/>
                      <a:pt x="10" y="82"/>
                      <a:pt x="10" y="82"/>
                    </a:cubicBezTo>
                    <a:cubicBezTo>
                      <a:pt x="12" y="90"/>
                      <a:pt x="22" y="96"/>
                      <a:pt x="30" y="96"/>
                    </a:cubicBezTo>
                    <a:cubicBezTo>
                      <a:pt x="279" y="96"/>
                      <a:pt x="279" y="96"/>
                      <a:pt x="279" y="96"/>
                    </a:cubicBezTo>
                    <a:cubicBezTo>
                      <a:pt x="287" y="96"/>
                      <a:pt x="296" y="90"/>
                      <a:pt x="299" y="82"/>
                    </a:cubicBezTo>
                    <a:cubicBezTo>
                      <a:pt x="305" y="64"/>
                      <a:pt x="305" y="64"/>
                      <a:pt x="305" y="64"/>
                    </a:cubicBezTo>
                    <a:cubicBezTo>
                      <a:pt x="308" y="56"/>
                      <a:pt x="304" y="47"/>
                      <a:pt x="296" y="44"/>
                    </a:cubicBezTo>
                    <a:cubicBezTo>
                      <a:pt x="211" y="6"/>
                      <a:pt x="211" y="6"/>
                      <a:pt x="211" y="6"/>
                    </a:cubicBezTo>
                    <a:cubicBezTo>
                      <a:pt x="203" y="2"/>
                      <a:pt x="190" y="0"/>
                      <a:pt x="182" y="0"/>
                    </a:cubicBezTo>
                    <a:lnTo>
                      <a:pt x="126" y="0"/>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19" name="Freeform 7"/>
            <p:cNvSpPr>
              <a:spLocks noChangeAspect="1" noEditPoints="1"/>
            </p:cNvSpPr>
            <p:nvPr userDrawn="1"/>
          </p:nvSpPr>
          <p:spPr bwMode="black">
            <a:xfrm>
              <a:off x="8450794" y="3139440"/>
              <a:ext cx="900406" cy="56874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grpSp>
      <p:sp>
        <p:nvSpPr>
          <p:cNvPr id="22" name="Freeform 17"/>
          <p:cNvSpPr>
            <a:spLocks noEditPoints="1"/>
          </p:cNvSpPr>
          <p:nvPr/>
        </p:nvSpPr>
        <p:spPr bwMode="auto">
          <a:xfrm>
            <a:off x="6227355" y="2076999"/>
            <a:ext cx="258424" cy="451937"/>
          </a:xfrm>
          <a:custGeom>
            <a:avLst/>
            <a:gdLst>
              <a:gd name="T0" fmla="*/ 1217 w 1337"/>
              <a:gd name="T1" fmla="*/ 0 h 2644"/>
              <a:gd name="T2" fmla="*/ 120 w 1337"/>
              <a:gd name="T3" fmla="*/ 0 h 2644"/>
              <a:gd name="T4" fmla="*/ 0 w 1337"/>
              <a:gd name="T5" fmla="*/ 120 h 2644"/>
              <a:gd name="T6" fmla="*/ 0 w 1337"/>
              <a:gd name="T7" fmla="*/ 2524 h 2644"/>
              <a:gd name="T8" fmla="*/ 120 w 1337"/>
              <a:gd name="T9" fmla="*/ 2644 h 2644"/>
              <a:gd name="T10" fmla="*/ 1217 w 1337"/>
              <a:gd name="T11" fmla="*/ 2644 h 2644"/>
              <a:gd name="T12" fmla="*/ 1337 w 1337"/>
              <a:gd name="T13" fmla="*/ 2524 h 2644"/>
              <a:gd name="T14" fmla="*/ 1337 w 1337"/>
              <a:gd name="T15" fmla="*/ 120 h 2644"/>
              <a:gd name="T16" fmla="*/ 1217 w 1337"/>
              <a:gd name="T17" fmla="*/ 0 h 2644"/>
              <a:gd name="T18" fmla="*/ 374 w 1337"/>
              <a:gd name="T19" fmla="*/ 2479 h 2644"/>
              <a:gd name="T20" fmla="*/ 102 w 1337"/>
              <a:gd name="T21" fmla="*/ 2479 h 2644"/>
              <a:gd name="T22" fmla="*/ 102 w 1337"/>
              <a:gd name="T23" fmla="*/ 2416 h 2644"/>
              <a:gd name="T24" fmla="*/ 374 w 1337"/>
              <a:gd name="T25" fmla="*/ 2416 h 2644"/>
              <a:gd name="T26" fmla="*/ 374 w 1337"/>
              <a:gd name="T27" fmla="*/ 2479 h 2644"/>
              <a:gd name="T28" fmla="*/ 653 w 1337"/>
              <a:gd name="T29" fmla="*/ 2479 h 2644"/>
              <a:gd name="T30" fmla="*/ 380 w 1337"/>
              <a:gd name="T31" fmla="*/ 2479 h 2644"/>
              <a:gd name="T32" fmla="*/ 380 w 1337"/>
              <a:gd name="T33" fmla="*/ 2416 h 2644"/>
              <a:gd name="T34" fmla="*/ 653 w 1337"/>
              <a:gd name="T35" fmla="*/ 2416 h 2644"/>
              <a:gd name="T36" fmla="*/ 653 w 1337"/>
              <a:gd name="T37" fmla="*/ 2479 h 2644"/>
              <a:gd name="T38" fmla="*/ 932 w 1337"/>
              <a:gd name="T39" fmla="*/ 2479 h 2644"/>
              <a:gd name="T40" fmla="*/ 659 w 1337"/>
              <a:gd name="T41" fmla="*/ 2479 h 2644"/>
              <a:gd name="T42" fmla="*/ 659 w 1337"/>
              <a:gd name="T43" fmla="*/ 2416 h 2644"/>
              <a:gd name="T44" fmla="*/ 932 w 1337"/>
              <a:gd name="T45" fmla="*/ 2416 h 2644"/>
              <a:gd name="T46" fmla="*/ 932 w 1337"/>
              <a:gd name="T47" fmla="*/ 2479 h 2644"/>
              <a:gd name="T48" fmla="*/ 1210 w 1337"/>
              <a:gd name="T49" fmla="*/ 2479 h 2644"/>
              <a:gd name="T50" fmla="*/ 938 w 1337"/>
              <a:gd name="T51" fmla="*/ 2479 h 2644"/>
              <a:gd name="T52" fmla="*/ 938 w 1337"/>
              <a:gd name="T53" fmla="*/ 2416 h 2644"/>
              <a:gd name="T54" fmla="*/ 1210 w 1337"/>
              <a:gd name="T55" fmla="*/ 2416 h 2644"/>
              <a:gd name="T56" fmla="*/ 1210 w 1337"/>
              <a:gd name="T57" fmla="*/ 2479 h 2644"/>
              <a:gd name="T58" fmla="*/ 1241 w 1337"/>
              <a:gd name="T59" fmla="*/ 2232 h 2644"/>
              <a:gd name="T60" fmla="*/ 84 w 1337"/>
              <a:gd name="T61" fmla="*/ 2232 h 2644"/>
              <a:gd name="T62" fmla="*/ 84 w 1337"/>
              <a:gd name="T63" fmla="*/ 214 h 2644"/>
              <a:gd name="T64" fmla="*/ 1241 w 1337"/>
              <a:gd name="T65" fmla="*/ 214 h 2644"/>
              <a:gd name="T66" fmla="*/ 1241 w 1337"/>
              <a:gd name="T67" fmla="*/ 2232 h 2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7" h="2644">
                <a:moveTo>
                  <a:pt x="1217" y="0"/>
                </a:moveTo>
                <a:cubicBezTo>
                  <a:pt x="120" y="0"/>
                  <a:pt x="120" y="0"/>
                  <a:pt x="120" y="0"/>
                </a:cubicBezTo>
                <a:cubicBezTo>
                  <a:pt x="54" y="0"/>
                  <a:pt x="0" y="54"/>
                  <a:pt x="0" y="120"/>
                </a:cubicBezTo>
                <a:cubicBezTo>
                  <a:pt x="0" y="2524"/>
                  <a:pt x="0" y="2524"/>
                  <a:pt x="0" y="2524"/>
                </a:cubicBezTo>
                <a:cubicBezTo>
                  <a:pt x="0" y="2590"/>
                  <a:pt x="54" y="2644"/>
                  <a:pt x="120" y="2644"/>
                </a:cubicBezTo>
                <a:cubicBezTo>
                  <a:pt x="1217" y="2644"/>
                  <a:pt x="1217" y="2644"/>
                  <a:pt x="1217" y="2644"/>
                </a:cubicBezTo>
                <a:cubicBezTo>
                  <a:pt x="1283" y="2644"/>
                  <a:pt x="1337" y="2590"/>
                  <a:pt x="1337" y="2524"/>
                </a:cubicBezTo>
                <a:cubicBezTo>
                  <a:pt x="1337" y="120"/>
                  <a:pt x="1337" y="120"/>
                  <a:pt x="1337" y="120"/>
                </a:cubicBezTo>
                <a:cubicBezTo>
                  <a:pt x="1337" y="54"/>
                  <a:pt x="1283" y="0"/>
                  <a:pt x="1217" y="0"/>
                </a:cubicBezTo>
                <a:close/>
                <a:moveTo>
                  <a:pt x="374" y="2479"/>
                </a:moveTo>
                <a:cubicBezTo>
                  <a:pt x="102" y="2479"/>
                  <a:pt x="102" y="2479"/>
                  <a:pt x="102" y="2479"/>
                </a:cubicBezTo>
                <a:cubicBezTo>
                  <a:pt x="102" y="2416"/>
                  <a:pt x="102" y="2416"/>
                  <a:pt x="102" y="2416"/>
                </a:cubicBezTo>
                <a:cubicBezTo>
                  <a:pt x="374" y="2416"/>
                  <a:pt x="374" y="2416"/>
                  <a:pt x="374" y="2416"/>
                </a:cubicBezTo>
                <a:lnTo>
                  <a:pt x="374" y="2479"/>
                </a:lnTo>
                <a:close/>
                <a:moveTo>
                  <a:pt x="653" y="2479"/>
                </a:moveTo>
                <a:cubicBezTo>
                  <a:pt x="380" y="2479"/>
                  <a:pt x="380" y="2479"/>
                  <a:pt x="380" y="2479"/>
                </a:cubicBezTo>
                <a:cubicBezTo>
                  <a:pt x="380" y="2416"/>
                  <a:pt x="380" y="2416"/>
                  <a:pt x="380" y="2416"/>
                </a:cubicBezTo>
                <a:cubicBezTo>
                  <a:pt x="653" y="2416"/>
                  <a:pt x="653" y="2416"/>
                  <a:pt x="653" y="2416"/>
                </a:cubicBezTo>
                <a:lnTo>
                  <a:pt x="653" y="2479"/>
                </a:lnTo>
                <a:close/>
                <a:moveTo>
                  <a:pt x="932" y="2479"/>
                </a:moveTo>
                <a:cubicBezTo>
                  <a:pt x="659" y="2479"/>
                  <a:pt x="659" y="2479"/>
                  <a:pt x="659" y="2479"/>
                </a:cubicBezTo>
                <a:cubicBezTo>
                  <a:pt x="659" y="2416"/>
                  <a:pt x="659" y="2416"/>
                  <a:pt x="659" y="2416"/>
                </a:cubicBezTo>
                <a:cubicBezTo>
                  <a:pt x="932" y="2416"/>
                  <a:pt x="932" y="2416"/>
                  <a:pt x="932" y="2416"/>
                </a:cubicBezTo>
                <a:lnTo>
                  <a:pt x="932" y="2479"/>
                </a:lnTo>
                <a:close/>
                <a:moveTo>
                  <a:pt x="1210" y="2479"/>
                </a:moveTo>
                <a:cubicBezTo>
                  <a:pt x="938" y="2479"/>
                  <a:pt x="938" y="2479"/>
                  <a:pt x="938" y="2479"/>
                </a:cubicBezTo>
                <a:cubicBezTo>
                  <a:pt x="938" y="2416"/>
                  <a:pt x="938" y="2416"/>
                  <a:pt x="938" y="2416"/>
                </a:cubicBezTo>
                <a:cubicBezTo>
                  <a:pt x="1210" y="2416"/>
                  <a:pt x="1210" y="2416"/>
                  <a:pt x="1210" y="2416"/>
                </a:cubicBezTo>
                <a:lnTo>
                  <a:pt x="1210" y="2479"/>
                </a:lnTo>
                <a:close/>
                <a:moveTo>
                  <a:pt x="1241" y="2232"/>
                </a:moveTo>
                <a:cubicBezTo>
                  <a:pt x="84" y="2232"/>
                  <a:pt x="84" y="2232"/>
                  <a:pt x="84" y="2232"/>
                </a:cubicBezTo>
                <a:cubicBezTo>
                  <a:pt x="84" y="214"/>
                  <a:pt x="84" y="214"/>
                  <a:pt x="84" y="214"/>
                </a:cubicBezTo>
                <a:cubicBezTo>
                  <a:pt x="1241" y="214"/>
                  <a:pt x="1241" y="214"/>
                  <a:pt x="1241" y="214"/>
                </a:cubicBezTo>
                <a:lnTo>
                  <a:pt x="1241" y="2232"/>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737" rIns="63475" bIns="31737" numCol="1" rtlCol="0" anchor="ctr" anchorCtr="0" compatLnSpc="1">
            <a:prstTxWarp prst="textNoShape">
              <a:avLst/>
            </a:prstTxWarp>
          </a:bodyPr>
          <a:lstStyle/>
          <a:p>
            <a:pPr algn="ctr" defTabSz="571269"/>
            <a:endParaRPr lang="en-US" sz="1765" spc="-95">
              <a:gradFill>
                <a:gsLst>
                  <a:gs pos="0">
                    <a:srgbClr val="FFFFFF"/>
                  </a:gs>
                  <a:gs pos="100000">
                    <a:srgbClr val="FFFFFF"/>
                  </a:gs>
                </a:gsLst>
                <a:lin ang="5400000" scaled="0"/>
              </a:gradFill>
              <a:latin typeface="Segoe Light" pitchFamily="34" charset="0"/>
            </a:endParaRPr>
          </a:p>
        </p:txBody>
      </p:sp>
      <p:sp>
        <p:nvSpPr>
          <p:cNvPr id="2" name="Footer Placeholder 1"/>
          <p:cNvSpPr>
            <a:spLocks noGrp="1"/>
          </p:cNvSpPr>
          <p:nvPr>
            <p:ph type="ftr" sz="quarter" idx="10"/>
          </p:nvPr>
        </p:nvSpPr>
        <p:spPr>
          <a:xfrm>
            <a:off x="90019" y="6656550"/>
            <a:ext cx="3859607" cy="154130"/>
          </a:xfrm>
          <a:prstGeom prst="rect">
            <a:avLst/>
          </a:prstGeom>
        </p:spPr>
        <p:txBody>
          <a:bodyPr/>
          <a:lstStyle/>
          <a:p>
            <a:r>
              <a:rPr lang="en-US" smtClean="0">
                <a:solidFill>
                  <a:srgbClr val="505050">
                    <a:tint val="75000"/>
                  </a:srgbClr>
                </a:solidFill>
              </a:rPr>
              <a:t>Microsoft Confidential</a:t>
            </a:r>
            <a:endParaRPr lang="en-US" dirty="0">
              <a:solidFill>
                <a:srgbClr val="505050">
                  <a:tint val="75000"/>
                </a:srgbClr>
              </a:solidFill>
            </a:endParaRPr>
          </a:p>
        </p:txBody>
      </p:sp>
      <p:sp>
        <p:nvSpPr>
          <p:cNvPr id="3" name="Slide Number Placeholder 2"/>
          <p:cNvSpPr>
            <a:spLocks noGrp="1"/>
          </p:cNvSpPr>
          <p:nvPr>
            <p:ph type="sldNum" sz="quarter" idx="11"/>
          </p:nvPr>
        </p:nvSpPr>
        <p:spPr>
          <a:xfrm>
            <a:off x="11474490" y="6656551"/>
            <a:ext cx="679506" cy="162535"/>
          </a:xfrm>
          <a:prstGeom prst="rect">
            <a:avLst/>
          </a:prstGeom>
        </p:spPr>
        <p:txBody>
          <a:bodyPr/>
          <a:lstStyle/>
          <a:p>
            <a:fld id="{337CC868-EBA7-ED47-93D7-8656571B0709}"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809788686"/>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357A087-EBDD-47AF-89FC-5E39B48BAD7F}" type="datetimeFigureOut">
              <a:rPr lang="en-US">
                <a:solidFill>
                  <a:srgbClr val="505050"/>
                </a:solidFill>
              </a:rPr>
              <a:pPr/>
              <a:t>3/27/2015</a:t>
            </a:fld>
            <a:endParaRPr lang="en-US">
              <a:solidFill>
                <a:srgbClr val="505050"/>
              </a:solidFill>
            </a:endParaRPr>
          </a:p>
        </p:txBody>
      </p:sp>
      <p:sp>
        <p:nvSpPr>
          <p:cNvPr id="6" name="Footer Placeholder 5"/>
          <p:cNvSpPr>
            <a:spLocks noGrp="1"/>
          </p:cNvSpPr>
          <p:nvPr>
            <p:ph type="ftr" sz="quarter" idx="11"/>
          </p:nvPr>
        </p:nvSpPr>
        <p:spPr/>
        <p:txBody>
          <a:bodyPr/>
          <a:lstStyle/>
          <a:p>
            <a:endParaRPr lang="en-US">
              <a:solidFill>
                <a:srgbClr val="505050">
                  <a:tint val="75000"/>
                </a:srgbClr>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232C0A4-028C-4D25-8B28-EA70D26D0177}"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3404417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0059045"/>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9" y="484298"/>
            <a:ext cx="7353245" cy="1344828"/>
          </a:xfrm>
          <a:prstGeom prst="rect">
            <a:avLst/>
          </a:prstGeom>
        </p:spPr>
      </p:pic>
    </p:spTree>
    <p:extLst>
      <p:ext uri="{BB962C8B-B14F-4D97-AF65-F5344CB8AC3E}">
        <p14:creationId xmlns:p14="http://schemas.microsoft.com/office/powerpoint/2010/main" val="104664746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9ED7"/>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3" name="Rectangle 12"/>
          <p:cNvSpPr/>
          <p:nvPr userDrawn="1"/>
        </p:nvSpPr>
        <p:spPr bwMode="white">
          <a:xfrm>
            <a:off x="623"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121726238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3342645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84607616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38600" y="298255"/>
            <a:ext cx="5289112"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1873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623" y="2907733"/>
            <a:ext cx="12191377" cy="3582366"/>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49858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87802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theme" Target="../theme/theme2.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theme" Target="../theme/theme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heme" Target="../theme/theme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theme" Target="../theme/theme5.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5" Type="http://schemas.openxmlformats.org/officeDocument/2006/relationships/slideLayout" Target="../slideLayouts/slideLayout88.xml"/><Relationship Id="rId10" Type="http://schemas.openxmlformats.org/officeDocument/2006/relationships/theme" Target="../theme/theme6.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theme" Target="../theme/theme7.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image" Target="../media/image16.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heme" Target="../theme/theme8.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5" name="Group 4"/>
          <p:cNvGrpSpPr/>
          <p:nvPr/>
        </p:nvGrpSpPr>
        <p:grpSpPr>
          <a:xfrm>
            <a:off x="1" y="6447969"/>
            <a:ext cx="12191999" cy="410030"/>
            <a:chOff x="274603" y="6576332"/>
            <a:chExt cx="11886441" cy="274320"/>
          </a:xfrm>
        </p:grpSpPr>
        <p:sp>
          <p:nvSpPr>
            <p:cNvPr id="6"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667" spc="0">
                  <a:solidFill>
                    <a:srgbClr val="FFFFFF"/>
                  </a:solidFill>
                </a:rPr>
                <a:t>Technical Evangelism &amp; Development Team</a:t>
              </a:r>
            </a:p>
          </p:txBody>
        </p:sp>
        <p:sp>
          <p:nvSpPr>
            <p:cNvPr id="7"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
        <p:nvSpPr>
          <p:cNvPr id="9" name="Footer Placeholder 5"/>
          <p:cNvSpPr>
            <a:spLocks noGrp="1"/>
          </p:cNvSpPr>
          <p:nvPr>
            <p:ph type="ftr" sz="quarter" idx="3"/>
          </p:nvPr>
        </p:nvSpPr>
        <p:spPr>
          <a:xfrm>
            <a:off x="0" y="6290771"/>
            <a:ext cx="3937000" cy="157198"/>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smtClean="0">
                <a:solidFill>
                  <a:srgbClr val="505050">
                    <a:tint val="75000"/>
                  </a:srgbClr>
                </a:solidFill>
              </a:rPr>
              <a:t>Microsoft Confidential</a:t>
            </a:r>
            <a:endParaRPr lang="en-US" dirty="0">
              <a:solidFill>
                <a:srgbClr val="505050">
                  <a:tint val="75000"/>
                </a:srgbClr>
              </a:solidFill>
            </a:endParaRPr>
          </a:p>
        </p:txBody>
      </p:sp>
    </p:spTree>
    <p:extLst>
      <p:ext uri="{BB962C8B-B14F-4D97-AF65-F5344CB8AC3E}">
        <p14:creationId xmlns:p14="http://schemas.microsoft.com/office/powerpoint/2010/main" val="27841380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ransition>
    <p:fade/>
  </p:transition>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81" tIns="89614" rIns="143381" bIns="89614"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75394"/>
          </a:xfrm>
          <a:prstGeom prst="rect">
            <a:avLst/>
          </a:prstGeom>
        </p:spPr>
        <p:txBody>
          <a:bodyPr vert="horz" wrap="square" lIns="143381" tIns="89614" rIns="143381" bIns="8961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5809460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829" r:id="rId33"/>
    <p:sldLayoutId id="2147483830" r:id="rId34"/>
    <p:sldLayoutId id="2147483831" r:id="rId35"/>
  </p:sldLayoutIdLst>
  <p:transition spd="slow">
    <p:push/>
  </p:transition>
  <p:timing>
    <p:tnLst>
      <p:par>
        <p:cTn id="1" dur="indefinite" restart="never" nodeType="tmRoot"/>
      </p:par>
    </p:tnLst>
  </p:timing>
  <p:txStyles>
    <p:titleStyle>
      <a:lvl1pPr algn="l" defTabSz="914109"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1" marR="0" indent="-336051" algn="l" defTabSz="914109"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530" marR="0" indent="-236479" algn="l" defTabSz="91410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17"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51"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184"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3799"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1"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5"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4"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3"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3" algn="l" defTabSz="914109" rtl="0" eaLnBrk="1" latinLnBrk="0" hangingPunct="1">
        <a:defRPr sz="1800" kern="1200">
          <a:solidFill>
            <a:schemeClr val="tx1"/>
          </a:solidFill>
          <a:latin typeface="+mn-lt"/>
          <a:ea typeface="+mn-ea"/>
          <a:cs typeface="+mn-cs"/>
        </a:defRPr>
      </a:lvl6pPr>
      <a:lvl7pPr marL="2742327"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9" algn="l" defTabSz="91410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421157" y="6444715"/>
            <a:ext cx="501606" cy="122217"/>
          </a:xfrm>
          <a:prstGeom prst="rect">
            <a:avLst/>
          </a:prstGeom>
          <a:noFill/>
        </p:spPr>
        <p:txBody>
          <a:bodyPr wrap="square" lIns="0" tIns="0" rIns="182880" bIns="0" rtlCol="0" anchor="b" anchorCtr="0">
            <a:spAutoFit/>
          </a:bodyPr>
          <a:lstStyle>
            <a:lvl1pPr algn="r">
              <a:defRPr lang="en-US" sz="882" spc="-20" baseline="0" smtClean="0">
                <a:gradFill>
                  <a:gsLst>
                    <a:gs pos="0">
                      <a:schemeClr val="tx1"/>
                    </a:gs>
                    <a:gs pos="100000">
                      <a:schemeClr val="tx1"/>
                    </a:gs>
                  </a:gsLst>
                  <a:lin ang="5400000" scaled="0"/>
                </a:gradFill>
              </a:defRPr>
            </a:lvl1pPr>
          </a:lstStyle>
          <a:p>
            <a:pPr defTabSz="914133">
              <a:lnSpc>
                <a:spcPct val="90000"/>
              </a:lnSpc>
            </a:pPr>
            <a:fld id="{1BC86A1F-E589-44B2-A543-2EC98F5547A7}" type="slidenum">
              <a:rPr lang="en-US" smtClean="0">
                <a:gradFill>
                  <a:gsLst>
                    <a:gs pos="0">
                      <a:srgbClr val="505050"/>
                    </a:gs>
                    <a:gs pos="100000">
                      <a:srgbClr val="505050"/>
                    </a:gs>
                  </a:gsLst>
                  <a:lin ang="5400000" scaled="0"/>
                </a:gradFill>
              </a:rPr>
              <a:pPr defTabSz="914133">
                <a:lnSpc>
                  <a:spcPct val="90000"/>
                </a:lnSpc>
              </a:pPr>
              <a:t>‹#›</a:t>
            </a:fld>
            <a:endParaRPr 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9886139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Lst>
  <p:transition>
    <p:fade/>
  </p:transition>
  <p:timing>
    <p:tnLst>
      <p:par>
        <p:cTn id="1" dur="indefinite" restart="never" nodeType="tmRoot"/>
      </p:par>
    </p:tnLst>
  </p:timing>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5" name="Group 4"/>
          <p:cNvGrpSpPr/>
          <p:nvPr/>
        </p:nvGrpSpPr>
        <p:grpSpPr>
          <a:xfrm>
            <a:off x="1" y="6447969"/>
            <a:ext cx="12191999" cy="410030"/>
            <a:chOff x="274603" y="6576332"/>
            <a:chExt cx="11886441" cy="274320"/>
          </a:xfrm>
        </p:grpSpPr>
        <p:sp>
          <p:nvSpPr>
            <p:cNvPr id="6"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667" spc="0">
                  <a:solidFill>
                    <a:srgbClr val="FFFFFF"/>
                  </a:solidFill>
                </a:rPr>
                <a:t>Technical Evangelism &amp; Development Team</a:t>
              </a:r>
            </a:p>
          </p:txBody>
        </p:sp>
        <p:sp>
          <p:nvSpPr>
            <p:cNvPr id="7"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
        <p:nvSpPr>
          <p:cNvPr id="9" name="Footer Placeholder 5"/>
          <p:cNvSpPr>
            <a:spLocks noGrp="1"/>
          </p:cNvSpPr>
          <p:nvPr>
            <p:ph type="ftr" sz="quarter" idx="3"/>
          </p:nvPr>
        </p:nvSpPr>
        <p:spPr>
          <a:xfrm>
            <a:off x="0" y="6290771"/>
            <a:ext cx="3937000" cy="157198"/>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smtClean="0">
                <a:solidFill>
                  <a:srgbClr val="505050">
                    <a:tint val="75000"/>
                  </a:srgbClr>
                </a:solidFill>
              </a:rPr>
              <a:t>Microsoft Confidential</a:t>
            </a:r>
            <a:endParaRPr lang="en-US" dirty="0">
              <a:solidFill>
                <a:srgbClr val="505050">
                  <a:tint val="75000"/>
                </a:srgbClr>
              </a:solidFill>
            </a:endParaRPr>
          </a:p>
        </p:txBody>
      </p:sp>
    </p:spTree>
    <p:extLst>
      <p:ext uri="{BB962C8B-B14F-4D97-AF65-F5344CB8AC3E}">
        <p14:creationId xmlns:p14="http://schemas.microsoft.com/office/powerpoint/2010/main" val="2784138017"/>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Lst>
  <p:transition>
    <p:fade/>
  </p:transition>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5" name="Group 4"/>
          <p:cNvGrpSpPr/>
          <p:nvPr/>
        </p:nvGrpSpPr>
        <p:grpSpPr>
          <a:xfrm>
            <a:off x="1" y="6447969"/>
            <a:ext cx="12191999" cy="410030"/>
            <a:chOff x="274603" y="6576332"/>
            <a:chExt cx="11886441" cy="274320"/>
          </a:xfrm>
        </p:grpSpPr>
        <p:sp>
          <p:nvSpPr>
            <p:cNvPr id="6"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667" spc="0">
                  <a:solidFill>
                    <a:srgbClr val="FFFFFF"/>
                  </a:solidFill>
                </a:rPr>
                <a:t>Technical Evangelism &amp; Development Team</a:t>
              </a:r>
            </a:p>
          </p:txBody>
        </p:sp>
        <p:sp>
          <p:nvSpPr>
            <p:cNvPr id="7"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
        <p:nvSpPr>
          <p:cNvPr id="9" name="Footer Placeholder 5"/>
          <p:cNvSpPr>
            <a:spLocks noGrp="1"/>
          </p:cNvSpPr>
          <p:nvPr>
            <p:ph type="ftr" sz="quarter" idx="3"/>
          </p:nvPr>
        </p:nvSpPr>
        <p:spPr>
          <a:xfrm>
            <a:off x="0" y="6290771"/>
            <a:ext cx="3937000" cy="157198"/>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smtClean="0">
                <a:solidFill>
                  <a:srgbClr val="505050">
                    <a:tint val="75000"/>
                  </a:srgbClr>
                </a:solidFill>
              </a:rPr>
              <a:t>Microsoft Confidential</a:t>
            </a:r>
            <a:endParaRPr lang="en-US" dirty="0">
              <a:solidFill>
                <a:srgbClr val="505050">
                  <a:tint val="75000"/>
                </a:srgbClr>
              </a:solidFill>
            </a:endParaRPr>
          </a:p>
        </p:txBody>
      </p:sp>
    </p:spTree>
    <p:extLst>
      <p:ext uri="{BB962C8B-B14F-4D97-AF65-F5344CB8AC3E}">
        <p14:creationId xmlns:p14="http://schemas.microsoft.com/office/powerpoint/2010/main" val="278413801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Lst>
  <p:transition>
    <p:fade/>
  </p:transition>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5" name="Group 4"/>
          <p:cNvGrpSpPr/>
          <p:nvPr/>
        </p:nvGrpSpPr>
        <p:grpSpPr>
          <a:xfrm>
            <a:off x="1" y="6447969"/>
            <a:ext cx="12191999" cy="410030"/>
            <a:chOff x="274603" y="6576332"/>
            <a:chExt cx="11886441" cy="274320"/>
          </a:xfrm>
        </p:grpSpPr>
        <p:sp>
          <p:nvSpPr>
            <p:cNvPr id="6"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667" spc="0">
                  <a:solidFill>
                    <a:srgbClr val="FFFFFF"/>
                  </a:solidFill>
                </a:rPr>
                <a:t>Technical Evangelism &amp; Development Team</a:t>
              </a:r>
            </a:p>
          </p:txBody>
        </p:sp>
        <p:sp>
          <p:nvSpPr>
            <p:cNvPr id="7"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
        <p:nvSpPr>
          <p:cNvPr id="9" name="Footer Placeholder 5"/>
          <p:cNvSpPr>
            <a:spLocks noGrp="1"/>
          </p:cNvSpPr>
          <p:nvPr>
            <p:ph type="ftr" sz="quarter" idx="3"/>
          </p:nvPr>
        </p:nvSpPr>
        <p:spPr>
          <a:xfrm>
            <a:off x="0" y="6290771"/>
            <a:ext cx="3937000" cy="157198"/>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smtClean="0">
                <a:solidFill>
                  <a:srgbClr val="505050">
                    <a:tint val="75000"/>
                  </a:srgbClr>
                </a:solidFill>
              </a:rPr>
              <a:t>Microsoft Confidential</a:t>
            </a:r>
            <a:endParaRPr lang="en-US" dirty="0">
              <a:solidFill>
                <a:srgbClr val="505050">
                  <a:tint val="75000"/>
                </a:srgbClr>
              </a:solidFill>
            </a:endParaRPr>
          </a:p>
        </p:txBody>
      </p:sp>
    </p:spTree>
    <p:extLst>
      <p:ext uri="{BB962C8B-B14F-4D97-AF65-F5344CB8AC3E}">
        <p14:creationId xmlns:p14="http://schemas.microsoft.com/office/powerpoint/2010/main" val="278413801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9" r:id="rId9"/>
  </p:sldLayoutIdLst>
  <p:transition>
    <p:fade/>
  </p:transition>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30"/>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031919302"/>
      </p:ext>
    </p:extLst>
  </p:cSld>
  <p:clrMap bg1="dk1" tx1="lt1" bg2="dk2" tx2="lt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5" name="Group 4"/>
          <p:cNvGrpSpPr/>
          <p:nvPr/>
        </p:nvGrpSpPr>
        <p:grpSpPr>
          <a:xfrm>
            <a:off x="2" y="6447969"/>
            <a:ext cx="12191999" cy="410030"/>
            <a:chOff x="274603" y="6576332"/>
            <a:chExt cx="11886441" cy="274320"/>
          </a:xfrm>
        </p:grpSpPr>
        <p:sp>
          <p:nvSpPr>
            <p:cNvPr id="6" name="Title 1"/>
            <p:cNvSpPr txBox="1">
              <a:spLocks/>
            </p:cNvSpPr>
            <p:nvPr/>
          </p:nvSpPr>
          <p:spPr>
            <a:xfrm>
              <a:off x="6217444"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pPr algn="r"/>
              <a:r>
                <a:rPr sz="1667" spc="0">
                  <a:solidFill>
                    <a:srgbClr val="FFFFFF"/>
                  </a:solidFill>
                </a:rPr>
                <a:t>Technical Evangelism &amp; Development Team</a:t>
              </a:r>
            </a:p>
          </p:txBody>
        </p:sp>
        <p:sp>
          <p:nvSpPr>
            <p:cNvPr id="7" name="Title 1"/>
            <p:cNvSpPr txBox="1">
              <a:spLocks/>
            </p:cNvSpPr>
            <p:nvPr/>
          </p:nvSpPr>
          <p:spPr>
            <a:xfrm>
              <a:off x="274603" y="6576332"/>
              <a:ext cx="5943600" cy="274320"/>
            </a:xfrm>
            <a:prstGeom prst="rect">
              <a:avLst/>
            </a:prstGeom>
            <a:solidFill>
              <a:srgbClr val="7FBA00"/>
            </a:solidFill>
          </p:spPr>
          <p:txBody>
            <a:bodyPr vert="horz" wrap="square" lIns="146304" tIns="91440" rIns="146304" bIns="91440" rtlCol="0" anchor="ctr">
              <a:noAutofit/>
            </a:bodyPr>
            <a:lstStyle>
              <a:lvl1pPr algn="l" defTabSz="932649" rtl="0" eaLnBrk="1" latinLnBrk="0" hangingPunct="1">
                <a:lnSpc>
                  <a:spcPct val="90000"/>
                </a:lnSpc>
                <a:spcBef>
                  <a:spcPct val="0"/>
                </a:spcBef>
                <a:buNone/>
                <a:defRPr lang="en-US" sz="5399" b="0" kern="1200" cap="none" spc="-102" baseline="0" dirty="0" smtClean="0">
                  <a:ln w="3175">
                    <a:noFill/>
                  </a:ln>
                  <a:solidFill>
                    <a:schemeClr val="bg1"/>
                  </a:solidFill>
                  <a:effectLst/>
                  <a:latin typeface="+mj-lt"/>
                  <a:ea typeface="+mn-ea"/>
                  <a:cs typeface="Segoe UI" pitchFamily="34" charset="0"/>
                </a:defRPr>
              </a:lvl1pPr>
            </a:lstStyle>
            <a:p>
              <a:r>
                <a:rPr sz="1667" spc="0">
                  <a:solidFill>
                    <a:srgbClr val="FFFFFF"/>
                  </a:solidFill>
                </a:rPr>
                <a:t> DX</a:t>
              </a:r>
            </a:p>
          </p:txBody>
        </p:sp>
      </p:grpSp>
      <p:sp>
        <p:nvSpPr>
          <p:cNvPr id="9" name="Footer Placeholder 5"/>
          <p:cNvSpPr>
            <a:spLocks noGrp="1"/>
          </p:cNvSpPr>
          <p:nvPr>
            <p:ph type="ftr" sz="quarter" idx="3"/>
          </p:nvPr>
        </p:nvSpPr>
        <p:spPr>
          <a:xfrm>
            <a:off x="0" y="6290771"/>
            <a:ext cx="3937000" cy="157198"/>
          </a:xfrm>
          <a:prstGeom prst="rect">
            <a:avLst/>
          </a:prstGeom>
        </p:spPr>
        <p:txBody>
          <a:bodyPr vert="horz" lIns="91440" tIns="45720" rIns="91440" bIns="45720" rtlCol="0" anchor="ctr"/>
          <a:lstStyle>
            <a:lvl1pPr algn="l">
              <a:defRPr sz="1000">
                <a:solidFill>
                  <a:schemeClr val="tx1">
                    <a:tint val="75000"/>
                  </a:schemeClr>
                </a:solidFill>
              </a:defRPr>
            </a:lvl1pPr>
          </a:lstStyle>
          <a:p>
            <a:pPr defTabSz="914225"/>
            <a:r>
              <a:rPr lang="en-US" smtClean="0">
                <a:solidFill>
                  <a:srgbClr val="505050">
                    <a:tint val="75000"/>
                  </a:srgbClr>
                </a:solidFill>
              </a:rPr>
              <a:t>Microsoft Confidential</a:t>
            </a:r>
            <a:endParaRPr lang="en-US" dirty="0">
              <a:solidFill>
                <a:srgbClr val="505050">
                  <a:tint val="75000"/>
                </a:srgbClr>
              </a:solidFill>
            </a:endParaRPr>
          </a:p>
        </p:txBody>
      </p:sp>
    </p:spTree>
    <p:extLst>
      <p:ext uri="{BB962C8B-B14F-4D97-AF65-F5344CB8AC3E}">
        <p14:creationId xmlns:p14="http://schemas.microsoft.com/office/powerpoint/2010/main" val="1778033383"/>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5" r:id="rId9"/>
    <p:sldLayoutId id="2147483826" r:id="rId10"/>
  </p:sldLayoutIdLst>
  <p:transition>
    <p:fade/>
  </p:transition>
  <p:timing>
    <p:tnLst>
      <p:par>
        <p:cTn id="1" dur="indefinite" restart="never" nodeType="tmRoot"/>
      </p:par>
    </p:tnLst>
  </p:timing>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4.emf"/><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image" Target="../media/image39.png"/><Relationship Id="rId21" Type="http://schemas.openxmlformats.org/officeDocument/2006/relationships/image" Target="../media/image57.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emf"/><Relationship Id="rId2" Type="http://schemas.openxmlformats.org/officeDocument/2006/relationships/notesSlide" Target="../notesSlides/notesSlide13.xml"/><Relationship Id="rId16" Type="http://schemas.openxmlformats.org/officeDocument/2006/relationships/image" Target="../media/image52.emf"/><Relationship Id="rId20" Type="http://schemas.openxmlformats.org/officeDocument/2006/relationships/image" Target="../media/image56.png"/><Relationship Id="rId1" Type="http://schemas.openxmlformats.org/officeDocument/2006/relationships/slideLayout" Target="../slideLayouts/slideLayout32.xml"/><Relationship Id="rId6" Type="http://schemas.openxmlformats.org/officeDocument/2006/relationships/image" Target="../media/image42.png"/><Relationship Id="rId11" Type="http://schemas.openxmlformats.org/officeDocument/2006/relationships/image" Target="../media/image47.emf"/><Relationship Id="rId5" Type="http://schemas.openxmlformats.org/officeDocument/2006/relationships/image" Target="../media/image41.png"/><Relationship Id="rId15" Type="http://schemas.openxmlformats.org/officeDocument/2006/relationships/image" Target="../media/image51.jpeg"/><Relationship Id="rId10" Type="http://schemas.openxmlformats.org/officeDocument/2006/relationships/image" Target="../media/image46.emf"/><Relationship Id="rId19" Type="http://schemas.openxmlformats.org/officeDocument/2006/relationships/image" Target="../media/image55.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32.xml"/><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0.xml"/><Relationship Id="rId1" Type="http://schemas.openxmlformats.org/officeDocument/2006/relationships/slideLayout" Target="../slideLayouts/slideLayout39.xml"/><Relationship Id="rId6" Type="http://schemas.openxmlformats.org/officeDocument/2006/relationships/image" Target="../media/image67.jpe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5.xml"/><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6.xml"/><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0.xml"/><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1.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3" Type="http://schemas.openxmlformats.org/officeDocument/2006/relationships/hyperlink" Target="http://www.arcweb.com/Blog/Post/260/Proactive-Asset-Management-with-IIoT-and-Analytics" TargetMode="External"/><Relationship Id="rId2" Type="http://schemas.openxmlformats.org/officeDocument/2006/relationships/notesSlide" Target="../notesSlides/notesSlide32.xml"/><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3.xml"/><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4.xml"/><Relationship Id="rId1" Type="http://schemas.openxmlformats.org/officeDocument/2006/relationships/slideLayout" Target="../slideLayouts/slideLayout3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5.xml"/><Relationship Id="rId1" Type="http://schemas.openxmlformats.org/officeDocument/2006/relationships/slideLayout" Target="../slideLayouts/slideLayout4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7.xml"/><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8.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2" Type="http://schemas.openxmlformats.org/officeDocument/2006/relationships/image" Target="../media/image90.gif"/><Relationship Id="rId1" Type="http://schemas.openxmlformats.org/officeDocument/2006/relationships/slideLayout" Target="../slideLayouts/slideLayout33.xml"/></Relationships>
</file>

<file path=ppt/slides/_rels/slide5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9.xml"/><Relationship Id="rId1" Type="http://schemas.openxmlformats.org/officeDocument/2006/relationships/slideLayout" Target="../slideLayouts/slideLayout3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39.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oT - It's Not Just a Buzzword</a:t>
            </a:r>
          </a:p>
        </p:txBody>
      </p:sp>
    </p:spTree>
    <p:extLst>
      <p:ext uri="{BB962C8B-B14F-4D97-AF65-F5344CB8AC3E}">
        <p14:creationId xmlns:p14="http://schemas.microsoft.com/office/powerpoint/2010/main" val="2229260604"/>
      </p:ext>
    </p:extLst>
  </p:cSld>
  <p:clrMapOvr>
    <a:masterClrMapping/>
  </p:clrMapOvr>
  <p:transition spd="slow">
    <p:push/>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349827" y="465344"/>
            <a:ext cx="9622971" cy="6269940"/>
          </a:xfrm>
          <a:prstGeom prst="rect">
            <a:avLst/>
          </a:prstGeom>
        </p:spPr>
      </p:pic>
      <p:sp>
        <p:nvSpPr>
          <p:cNvPr id="2" name="Right Arrow 1"/>
          <p:cNvSpPr/>
          <p:nvPr/>
        </p:nvSpPr>
        <p:spPr bwMode="auto">
          <a:xfrm rot="1519759" flipH="1">
            <a:off x="3386294" y="1550566"/>
            <a:ext cx="2260879" cy="127614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555197">
            <a:off x="3488021" y="1874704"/>
            <a:ext cx="2057423"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chemeClr val="bg1"/>
                </a:solidFill>
              </a:rPr>
              <a:t>You are here</a:t>
            </a:r>
          </a:p>
        </p:txBody>
      </p:sp>
    </p:spTree>
    <p:extLst>
      <p:ext uri="{BB962C8B-B14F-4D97-AF65-F5344CB8AC3E}">
        <p14:creationId xmlns:p14="http://schemas.microsoft.com/office/powerpoint/2010/main" val="2999159498"/>
      </p:ext>
    </p:extLst>
  </p:cSld>
  <p:clrMapOvr>
    <a:masterClrMapping/>
  </p:clrMapOvr>
  <p:transition spd="slow">
    <p:push/>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Jason\AppData\Local\Temp\SNAGHTML40d39e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975" y="527276"/>
            <a:ext cx="11380170" cy="446563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7453511" y="5929477"/>
            <a:ext cx="4382931" cy="646331"/>
          </a:xfrm>
          <a:prstGeom prst="rect">
            <a:avLst/>
          </a:prstGeom>
        </p:spPr>
        <p:txBody>
          <a:bodyPr wrap="none">
            <a:spAutoFit/>
          </a:bodyPr>
          <a:lstStyle/>
          <a:p>
            <a:r>
              <a:rPr lang="en-US" dirty="0" smtClean="0">
                <a:solidFill>
                  <a:srgbClr val="181818"/>
                </a:solidFill>
                <a:latin typeface="Georgia" panose="02040502050405020303" pitchFamily="18" charset="0"/>
              </a:rPr>
              <a:t>“People </a:t>
            </a:r>
            <a:r>
              <a:rPr lang="en-US" dirty="0">
                <a:solidFill>
                  <a:srgbClr val="181818"/>
                </a:solidFill>
                <a:latin typeface="Georgia" panose="02040502050405020303" pitchFamily="18" charset="0"/>
              </a:rPr>
              <a:t>fear what they don't </a:t>
            </a:r>
            <a:r>
              <a:rPr lang="en-US" dirty="0" smtClean="0">
                <a:solidFill>
                  <a:srgbClr val="181818"/>
                </a:solidFill>
                <a:latin typeface="Georgia" panose="02040502050405020303" pitchFamily="18" charset="0"/>
              </a:rPr>
              <a:t>understand”</a:t>
            </a:r>
          </a:p>
          <a:p>
            <a:r>
              <a:rPr lang="en-US" b="0" i="0" dirty="0" smtClean="0">
                <a:solidFill>
                  <a:srgbClr val="181818"/>
                </a:solidFill>
                <a:effectLst/>
                <a:latin typeface="Georgia" panose="02040502050405020303" pitchFamily="18" charset="0"/>
              </a:rPr>
              <a:t>-Andrew Smith</a:t>
            </a:r>
            <a:endParaRPr lang="en-US" b="0" i="0" dirty="0">
              <a:solidFill>
                <a:srgbClr val="181818"/>
              </a:solidFill>
              <a:effectLst/>
              <a:latin typeface="Georgia" panose="02040502050405020303" pitchFamily="18" charset="0"/>
            </a:endParaRPr>
          </a:p>
        </p:txBody>
      </p:sp>
    </p:spTree>
    <p:extLst>
      <p:ext uri="{BB962C8B-B14F-4D97-AF65-F5344CB8AC3E}">
        <p14:creationId xmlns:p14="http://schemas.microsoft.com/office/powerpoint/2010/main" val="1012443503"/>
      </p:ext>
    </p:extLst>
  </p:cSld>
  <p:clrMapOvr>
    <a:masterClrMapping/>
  </p:clrMapOvr>
  <p:transition spd="slow">
    <p:push/>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327905" y="0"/>
            <a:ext cx="9619406" cy="6858000"/>
          </a:xfrm>
          <a:prstGeom prst="rect">
            <a:avLst/>
          </a:prstGeom>
        </p:spPr>
      </p:pic>
    </p:spTree>
    <p:extLst>
      <p:ext uri="{BB962C8B-B14F-4D97-AF65-F5344CB8AC3E}">
        <p14:creationId xmlns:p14="http://schemas.microsoft.com/office/powerpoint/2010/main" val="2527044652"/>
      </p:ext>
    </p:extLst>
  </p:cSld>
  <p:clrMapOvr>
    <a:masterClrMapping/>
  </p:clrMapOvr>
  <p:transition spd="slow">
    <p:push/>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25819" y="859150"/>
          <a:ext cx="1167" cy="1167"/>
        </p:xfrm>
        <a:graphic>
          <a:graphicData uri="http://schemas.openxmlformats.org/presentationml/2006/ole">
            <mc:AlternateContent xmlns:mc="http://schemas.openxmlformats.org/markup-compatibility/2006">
              <mc:Choice xmlns:v="urn:schemas-microsoft-com:vml" Requires="v">
                <p:oleObj spid="_x0000_s20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819" y="859150"/>
                        <a:ext cx="1167" cy="1167"/>
                      </a:xfrm>
                      <a:prstGeom prst="rect">
                        <a:avLst/>
                      </a:prstGeom>
                    </p:spPr>
                  </p:pic>
                </p:oleObj>
              </mc:Fallback>
            </mc:AlternateContent>
          </a:graphicData>
        </a:graphic>
      </p:graphicFrame>
      <p:sp>
        <p:nvSpPr>
          <p:cNvPr id="4" name="Title 3"/>
          <p:cNvSpPr>
            <a:spLocks noGrp="1"/>
          </p:cNvSpPr>
          <p:nvPr>
            <p:ph type="title"/>
          </p:nvPr>
        </p:nvSpPr>
        <p:spPr/>
        <p:txBody>
          <a:bodyPr>
            <a:noAutofit/>
          </a:bodyPr>
          <a:lstStyle/>
          <a:p>
            <a:r>
              <a:rPr lang="en-US" sz="4400" dirty="0" smtClean="0">
                <a:solidFill>
                  <a:schemeClr val="bg2">
                    <a:lumMod val="50000"/>
                  </a:schemeClr>
                </a:solidFill>
                <a:latin typeface="Segoe UI Light" panose="020B0502040204020203" pitchFamily="34" charset="0"/>
                <a:cs typeface="Segoe UI Light" panose="020B0502040204020203" pitchFamily="34" charset="0"/>
              </a:rPr>
              <a:t>What is the Internet of Things?</a:t>
            </a:r>
            <a:endParaRPr lang="en-US" sz="4400" dirty="0">
              <a:solidFill>
                <a:schemeClr val="bg2">
                  <a:lumMod val="50000"/>
                </a:schemeClr>
              </a:solidFill>
              <a:latin typeface="Segoe UI Light" panose="020B0502040204020203" pitchFamily="34" charset="0"/>
              <a:cs typeface="Segoe UI Light" panose="020B0502040204020203" pitchFamily="34" charset="0"/>
            </a:endParaRPr>
          </a:p>
        </p:txBody>
      </p:sp>
      <p:sp>
        <p:nvSpPr>
          <p:cNvPr id="60" name="Rectangle 59"/>
          <p:cNvSpPr/>
          <p:nvPr/>
        </p:nvSpPr>
        <p:spPr>
          <a:xfrm>
            <a:off x="2962297" y="2084364"/>
            <a:ext cx="2644453" cy="2689274"/>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Connectivity</a:t>
            </a:r>
          </a:p>
        </p:txBody>
      </p:sp>
      <p:grpSp>
        <p:nvGrpSpPr>
          <p:cNvPr id="87" name="Group 86"/>
          <p:cNvGrpSpPr/>
          <p:nvPr/>
        </p:nvGrpSpPr>
        <p:grpSpPr>
          <a:xfrm>
            <a:off x="4795842" y="3962744"/>
            <a:ext cx="609018" cy="606953"/>
            <a:chOff x="13581063" y="-434975"/>
            <a:chExt cx="3236912" cy="3236913"/>
          </a:xfrm>
          <a:solidFill>
            <a:schemeClr val="bg2"/>
          </a:solidFill>
        </p:grpSpPr>
        <p:sp>
          <p:nvSpPr>
            <p:cNvPr id="88"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89"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0"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1"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
        <p:nvSpPr>
          <p:cNvPr id="92" name="Rectangle 91"/>
          <p:cNvSpPr/>
          <p:nvPr/>
        </p:nvSpPr>
        <p:spPr>
          <a:xfrm>
            <a:off x="5646691" y="2084364"/>
            <a:ext cx="2644453" cy="2689274"/>
          </a:xfrm>
          <a:prstGeom prst="rect">
            <a:avLst/>
          </a:prstGeom>
          <a:solidFill>
            <a:srgbClr val="D83B01"/>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Data</a:t>
            </a:r>
          </a:p>
        </p:txBody>
      </p:sp>
      <p:grpSp>
        <p:nvGrpSpPr>
          <p:cNvPr id="93" name="Group 92"/>
          <p:cNvGrpSpPr/>
          <p:nvPr/>
        </p:nvGrpSpPr>
        <p:grpSpPr>
          <a:xfrm>
            <a:off x="7370541" y="3892100"/>
            <a:ext cx="725691" cy="677599"/>
            <a:chOff x="-5364163" y="-2738437"/>
            <a:chExt cx="4327525" cy="4054475"/>
          </a:xfrm>
          <a:solidFill>
            <a:schemeClr val="bg2"/>
          </a:solidFill>
        </p:grpSpPr>
        <p:sp>
          <p:nvSpPr>
            <p:cNvPr id="94"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5"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6"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7"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8"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9"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0"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1"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2"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3"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4"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5"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6"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7"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8"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
        <p:nvSpPr>
          <p:cNvPr id="109" name="Rectangle 108"/>
          <p:cNvSpPr/>
          <p:nvPr/>
        </p:nvSpPr>
        <p:spPr>
          <a:xfrm>
            <a:off x="8337063" y="2084364"/>
            <a:ext cx="2644453" cy="268927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Analytics</a:t>
            </a:r>
          </a:p>
        </p:txBody>
      </p:sp>
      <p:grpSp>
        <p:nvGrpSpPr>
          <p:cNvPr id="110" name="Group 109"/>
          <p:cNvGrpSpPr/>
          <p:nvPr/>
        </p:nvGrpSpPr>
        <p:grpSpPr>
          <a:xfrm>
            <a:off x="9699391" y="3817977"/>
            <a:ext cx="998659" cy="749069"/>
            <a:chOff x="15319375" y="-157163"/>
            <a:chExt cx="2720976" cy="2047876"/>
          </a:xfrm>
          <a:solidFill>
            <a:schemeClr val="bg1"/>
          </a:solidFill>
        </p:grpSpPr>
        <p:sp>
          <p:nvSpPr>
            <p:cNvPr id="111"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2"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3"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4"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5"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6"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7"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8"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9"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20"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
        <p:nvSpPr>
          <p:cNvPr id="121" name="Rectangle 120"/>
          <p:cNvSpPr/>
          <p:nvPr/>
        </p:nvSpPr>
        <p:spPr>
          <a:xfrm>
            <a:off x="275630" y="2084364"/>
            <a:ext cx="2644453" cy="2689274"/>
          </a:xfrm>
          <a:prstGeom prst="rect">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Things</a:t>
            </a:r>
          </a:p>
        </p:txBody>
      </p:sp>
      <p:grpSp>
        <p:nvGrpSpPr>
          <p:cNvPr id="122" name="Group 121"/>
          <p:cNvGrpSpPr/>
          <p:nvPr/>
        </p:nvGrpSpPr>
        <p:grpSpPr>
          <a:xfrm>
            <a:off x="1516176" y="3614944"/>
            <a:ext cx="1180812" cy="952102"/>
            <a:chOff x="1640724" y="3762844"/>
            <a:chExt cx="1110344" cy="895283"/>
          </a:xfrm>
        </p:grpSpPr>
        <p:grpSp>
          <p:nvGrpSpPr>
            <p:cNvPr id="123" name="Group 122"/>
            <p:cNvGrpSpPr/>
            <p:nvPr/>
          </p:nvGrpSpPr>
          <p:grpSpPr>
            <a:xfrm flipH="1">
              <a:off x="2101550" y="3865418"/>
              <a:ext cx="649518" cy="279906"/>
              <a:chOff x="18524538" y="-23752175"/>
              <a:chExt cx="41830625" cy="18087975"/>
            </a:xfrm>
            <a:solidFill>
              <a:schemeClr val="bg1"/>
            </a:solidFill>
          </p:grpSpPr>
          <p:sp>
            <p:nvSpPr>
              <p:cNvPr id="141"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42"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43"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grpSp>
          <p:nvGrpSpPr>
            <p:cNvPr id="124" name="Group 123"/>
            <p:cNvGrpSpPr/>
            <p:nvPr/>
          </p:nvGrpSpPr>
          <p:grpSpPr>
            <a:xfrm flipH="1">
              <a:off x="2200373" y="4223497"/>
              <a:ext cx="522120" cy="432207"/>
              <a:chOff x="16659225" y="-4403725"/>
              <a:chExt cx="3724275" cy="3082925"/>
            </a:xfrm>
            <a:solidFill>
              <a:schemeClr val="bg1"/>
            </a:solidFill>
          </p:grpSpPr>
          <p:sp>
            <p:nvSpPr>
              <p:cNvPr id="139"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40"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nvGrpSpPr>
            <p:cNvPr id="125" name="Group 124"/>
            <p:cNvGrpSpPr/>
            <p:nvPr/>
          </p:nvGrpSpPr>
          <p:grpSpPr>
            <a:xfrm>
              <a:off x="1737360" y="3762844"/>
              <a:ext cx="255760" cy="423605"/>
              <a:chOff x="2981515" y="4282797"/>
              <a:chExt cx="371475" cy="615261"/>
            </a:xfrm>
          </p:grpSpPr>
          <p:sp>
            <p:nvSpPr>
              <p:cNvPr id="136" name="Freeform 13"/>
              <p:cNvSpPr>
                <a:spLocks noEditPoints="1"/>
              </p:cNvSpPr>
              <p:nvPr/>
            </p:nvSpPr>
            <p:spPr bwMode="auto">
              <a:xfrm>
                <a:off x="2981515" y="4282797"/>
                <a:ext cx="313163" cy="211117"/>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7" name="Rectangle 14"/>
              <p:cNvSpPr>
                <a:spLocks noChangeArrowheads="1"/>
              </p:cNvSpPr>
              <p:nvPr/>
            </p:nvSpPr>
            <p:spPr bwMode="auto">
              <a:xfrm>
                <a:off x="3311364" y="4329341"/>
                <a:ext cx="41626" cy="11978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8" name="Freeform 15"/>
              <p:cNvSpPr>
                <a:spLocks/>
              </p:cNvSpPr>
              <p:nvPr/>
            </p:nvSpPr>
            <p:spPr bwMode="auto">
              <a:xfrm>
                <a:off x="2981515" y="4511478"/>
                <a:ext cx="313163" cy="386580"/>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nvGrpSpPr>
            <p:cNvPr id="126" name="Group 125"/>
            <p:cNvGrpSpPr/>
            <p:nvPr/>
          </p:nvGrpSpPr>
          <p:grpSpPr>
            <a:xfrm>
              <a:off x="1640724" y="4275400"/>
              <a:ext cx="481642" cy="382727"/>
              <a:chOff x="-3435350" y="5073650"/>
              <a:chExt cx="3192462" cy="2536826"/>
            </a:xfrm>
            <a:solidFill>
              <a:schemeClr val="bg1"/>
            </a:solidFill>
          </p:grpSpPr>
          <p:sp>
            <p:nvSpPr>
              <p:cNvPr id="127"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28"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29"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0"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1"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2"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3"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4"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5"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spTree>
    <p:extLst>
      <p:ext uri="{BB962C8B-B14F-4D97-AF65-F5344CB8AC3E}">
        <p14:creationId xmlns:p14="http://schemas.microsoft.com/office/powerpoint/2010/main" val="19195251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1"/>
                                        </p:tgtEl>
                                        <p:attrNameLst>
                                          <p:attrName>style.visibility</p:attrName>
                                        </p:attrNameLst>
                                      </p:cBhvr>
                                      <p:to>
                                        <p:strVal val="visible"/>
                                      </p:to>
                                    </p:set>
                                    <p:anim calcmode="lin" valueType="num">
                                      <p:cBhvr additive="base">
                                        <p:cTn id="7" dur="500" fill="hold"/>
                                        <p:tgtEl>
                                          <p:spTgt spid="121"/>
                                        </p:tgtEl>
                                        <p:attrNameLst>
                                          <p:attrName>ppt_x</p:attrName>
                                        </p:attrNameLst>
                                      </p:cBhvr>
                                      <p:tavLst>
                                        <p:tav tm="0">
                                          <p:val>
                                            <p:strVal val="1+#ppt_w/2"/>
                                          </p:val>
                                        </p:tav>
                                        <p:tav tm="100000">
                                          <p:val>
                                            <p:strVal val="#ppt_x"/>
                                          </p:val>
                                        </p:tav>
                                      </p:tavLst>
                                    </p:anim>
                                    <p:anim calcmode="lin" valueType="num">
                                      <p:cBhvr additive="base">
                                        <p:cTn id="8" dur="500" fill="hold"/>
                                        <p:tgtEl>
                                          <p:spTgt spid="121"/>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500"/>
                                  </p:stCondLst>
                                  <p:childTnLst>
                                    <p:set>
                                      <p:cBhvr>
                                        <p:cTn id="10" dur="1" fill="hold">
                                          <p:stCondLst>
                                            <p:cond delay="0"/>
                                          </p:stCondLst>
                                        </p:cTn>
                                        <p:tgtEl>
                                          <p:spTgt spid="122"/>
                                        </p:tgtEl>
                                        <p:attrNameLst>
                                          <p:attrName>style.visibility</p:attrName>
                                        </p:attrNameLst>
                                      </p:cBhvr>
                                      <p:to>
                                        <p:strVal val="visible"/>
                                      </p:to>
                                    </p:set>
                                    <p:animEffect transition="in" filter="strips(downLeft)">
                                      <p:cBhvr>
                                        <p:cTn id="11" dur="500"/>
                                        <p:tgtEl>
                                          <p:spTgt spid="122"/>
                                        </p:tgtEl>
                                      </p:cBhvr>
                                    </p:animEffect>
                                  </p:childTnLst>
                                </p:cTn>
                              </p:par>
                              <p:par>
                                <p:cTn id="12" presetID="2" presetClass="entr" presetSubtype="2" decel="100000" fill="hold" grpId="0" nodeType="withEffect">
                                  <p:stCondLst>
                                    <p:cond delay="250"/>
                                  </p:stCondLst>
                                  <p:childTnLst>
                                    <p:set>
                                      <p:cBhvr>
                                        <p:cTn id="13" dur="1" fill="hold">
                                          <p:stCondLst>
                                            <p:cond delay="0"/>
                                          </p:stCondLst>
                                        </p:cTn>
                                        <p:tgtEl>
                                          <p:spTgt spid="60"/>
                                        </p:tgtEl>
                                        <p:attrNameLst>
                                          <p:attrName>style.visibility</p:attrName>
                                        </p:attrNameLst>
                                      </p:cBhvr>
                                      <p:to>
                                        <p:strVal val="visible"/>
                                      </p:to>
                                    </p:set>
                                    <p:anim calcmode="lin" valueType="num">
                                      <p:cBhvr additive="base">
                                        <p:cTn id="14" dur="500" fill="hold"/>
                                        <p:tgtEl>
                                          <p:spTgt spid="60"/>
                                        </p:tgtEl>
                                        <p:attrNameLst>
                                          <p:attrName>ppt_x</p:attrName>
                                        </p:attrNameLst>
                                      </p:cBhvr>
                                      <p:tavLst>
                                        <p:tav tm="0">
                                          <p:val>
                                            <p:strVal val="1+#ppt_w/2"/>
                                          </p:val>
                                        </p:tav>
                                        <p:tav tm="100000">
                                          <p:val>
                                            <p:strVal val="#ppt_x"/>
                                          </p:val>
                                        </p:tav>
                                      </p:tavLst>
                                    </p:anim>
                                    <p:anim calcmode="lin" valueType="num">
                                      <p:cBhvr additive="base">
                                        <p:cTn id="15" dur="500" fill="hold"/>
                                        <p:tgtEl>
                                          <p:spTgt spid="60"/>
                                        </p:tgtEl>
                                        <p:attrNameLst>
                                          <p:attrName>ppt_y</p:attrName>
                                        </p:attrNameLst>
                                      </p:cBhvr>
                                      <p:tavLst>
                                        <p:tav tm="0">
                                          <p:val>
                                            <p:strVal val="#ppt_y"/>
                                          </p:val>
                                        </p:tav>
                                        <p:tav tm="100000">
                                          <p:val>
                                            <p:strVal val="#ppt_y"/>
                                          </p:val>
                                        </p:tav>
                                      </p:tavLst>
                                    </p:anim>
                                  </p:childTnLst>
                                </p:cTn>
                              </p:par>
                              <p:par>
                                <p:cTn id="16" presetID="18" presetClass="entr" presetSubtype="12" fill="hold" nodeType="withEffect">
                                  <p:stCondLst>
                                    <p:cond delay="750"/>
                                  </p:stCondLst>
                                  <p:childTnLst>
                                    <p:set>
                                      <p:cBhvr>
                                        <p:cTn id="17" dur="1" fill="hold">
                                          <p:stCondLst>
                                            <p:cond delay="0"/>
                                          </p:stCondLst>
                                        </p:cTn>
                                        <p:tgtEl>
                                          <p:spTgt spid="87"/>
                                        </p:tgtEl>
                                        <p:attrNameLst>
                                          <p:attrName>style.visibility</p:attrName>
                                        </p:attrNameLst>
                                      </p:cBhvr>
                                      <p:to>
                                        <p:strVal val="visible"/>
                                      </p:to>
                                    </p:set>
                                    <p:animEffect transition="in" filter="strips(downLeft)">
                                      <p:cBhvr>
                                        <p:cTn id="18" dur="500"/>
                                        <p:tgtEl>
                                          <p:spTgt spid="87"/>
                                        </p:tgtEl>
                                      </p:cBhvr>
                                    </p:animEffect>
                                  </p:childTnLst>
                                </p:cTn>
                              </p:par>
                              <p:par>
                                <p:cTn id="19" presetID="2" presetClass="entr" presetSubtype="2" decel="100000" fill="hold" grpId="0" nodeType="withEffect">
                                  <p:stCondLst>
                                    <p:cond delay="500"/>
                                  </p:stCondLst>
                                  <p:childTnLst>
                                    <p:set>
                                      <p:cBhvr>
                                        <p:cTn id="20" dur="1" fill="hold">
                                          <p:stCondLst>
                                            <p:cond delay="0"/>
                                          </p:stCondLst>
                                        </p:cTn>
                                        <p:tgtEl>
                                          <p:spTgt spid="92"/>
                                        </p:tgtEl>
                                        <p:attrNameLst>
                                          <p:attrName>style.visibility</p:attrName>
                                        </p:attrNameLst>
                                      </p:cBhvr>
                                      <p:to>
                                        <p:strVal val="visible"/>
                                      </p:to>
                                    </p:set>
                                    <p:anim calcmode="lin" valueType="num">
                                      <p:cBhvr additive="base">
                                        <p:cTn id="21" dur="500" fill="hold"/>
                                        <p:tgtEl>
                                          <p:spTgt spid="92"/>
                                        </p:tgtEl>
                                        <p:attrNameLst>
                                          <p:attrName>ppt_x</p:attrName>
                                        </p:attrNameLst>
                                      </p:cBhvr>
                                      <p:tavLst>
                                        <p:tav tm="0">
                                          <p:val>
                                            <p:strVal val="1+#ppt_w/2"/>
                                          </p:val>
                                        </p:tav>
                                        <p:tav tm="100000">
                                          <p:val>
                                            <p:strVal val="#ppt_x"/>
                                          </p:val>
                                        </p:tav>
                                      </p:tavLst>
                                    </p:anim>
                                    <p:anim calcmode="lin" valueType="num">
                                      <p:cBhvr additive="base">
                                        <p:cTn id="22" dur="500" fill="hold"/>
                                        <p:tgtEl>
                                          <p:spTgt spid="92"/>
                                        </p:tgtEl>
                                        <p:attrNameLst>
                                          <p:attrName>ppt_y</p:attrName>
                                        </p:attrNameLst>
                                      </p:cBhvr>
                                      <p:tavLst>
                                        <p:tav tm="0">
                                          <p:val>
                                            <p:strVal val="#ppt_y"/>
                                          </p:val>
                                        </p:tav>
                                        <p:tav tm="100000">
                                          <p:val>
                                            <p:strVal val="#ppt_y"/>
                                          </p:val>
                                        </p:tav>
                                      </p:tavLst>
                                    </p:anim>
                                  </p:childTnLst>
                                </p:cTn>
                              </p:par>
                              <p:par>
                                <p:cTn id="23" presetID="18" presetClass="entr" presetSubtype="12" fill="hold" nodeType="withEffect">
                                  <p:stCondLst>
                                    <p:cond delay="1000"/>
                                  </p:stCondLst>
                                  <p:childTnLst>
                                    <p:set>
                                      <p:cBhvr>
                                        <p:cTn id="24" dur="1" fill="hold">
                                          <p:stCondLst>
                                            <p:cond delay="0"/>
                                          </p:stCondLst>
                                        </p:cTn>
                                        <p:tgtEl>
                                          <p:spTgt spid="93"/>
                                        </p:tgtEl>
                                        <p:attrNameLst>
                                          <p:attrName>style.visibility</p:attrName>
                                        </p:attrNameLst>
                                      </p:cBhvr>
                                      <p:to>
                                        <p:strVal val="visible"/>
                                      </p:to>
                                    </p:set>
                                    <p:animEffect transition="in" filter="strips(downLeft)">
                                      <p:cBhvr>
                                        <p:cTn id="25" dur="500"/>
                                        <p:tgtEl>
                                          <p:spTgt spid="93"/>
                                        </p:tgtEl>
                                      </p:cBhvr>
                                    </p:animEffect>
                                  </p:childTnLst>
                                </p:cTn>
                              </p:par>
                              <p:par>
                                <p:cTn id="26" presetID="2" presetClass="entr" presetSubtype="2" decel="100000" fill="hold" grpId="0" nodeType="withEffect">
                                  <p:stCondLst>
                                    <p:cond delay="750"/>
                                  </p:stCondLst>
                                  <p:childTnLst>
                                    <p:set>
                                      <p:cBhvr>
                                        <p:cTn id="27" dur="1" fill="hold">
                                          <p:stCondLst>
                                            <p:cond delay="0"/>
                                          </p:stCondLst>
                                        </p:cTn>
                                        <p:tgtEl>
                                          <p:spTgt spid="109"/>
                                        </p:tgtEl>
                                        <p:attrNameLst>
                                          <p:attrName>style.visibility</p:attrName>
                                        </p:attrNameLst>
                                      </p:cBhvr>
                                      <p:to>
                                        <p:strVal val="visible"/>
                                      </p:to>
                                    </p:set>
                                    <p:anim calcmode="lin" valueType="num">
                                      <p:cBhvr additive="base">
                                        <p:cTn id="28" dur="500" fill="hold"/>
                                        <p:tgtEl>
                                          <p:spTgt spid="109"/>
                                        </p:tgtEl>
                                        <p:attrNameLst>
                                          <p:attrName>ppt_x</p:attrName>
                                        </p:attrNameLst>
                                      </p:cBhvr>
                                      <p:tavLst>
                                        <p:tav tm="0">
                                          <p:val>
                                            <p:strVal val="1+#ppt_w/2"/>
                                          </p:val>
                                        </p:tav>
                                        <p:tav tm="100000">
                                          <p:val>
                                            <p:strVal val="#ppt_x"/>
                                          </p:val>
                                        </p:tav>
                                      </p:tavLst>
                                    </p:anim>
                                    <p:anim calcmode="lin" valueType="num">
                                      <p:cBhvr additive="base">
                                        <p:cTn id="29" dur="500" fill="hold"/>
                                        <p:tgtEl>
                                          <p:spTgt spid="109"/>
                                        </p:tgtEl>
                                        <p:attrNameLst>
                                          <p:attrName>ppt_y</p:attrName>
                                        </p:attrNameLst>
                                      </p:cBhvr>
                                      <p:tavLst>
                                        <p:tav tm="0">
                                          <p:val>
                                            <p:strVal val="#ppt_y"/>
                                          </p:val>
                                        </p:tav>
                                        <p:tav tm="100000">
                                          <p:val>
                                            <p:strVal val="#ppt_y"/>
                                          </p:val>
                                        </p:tav>
                                      </p:tavLst>
                                    </p:anim>
                                  </p:childTnLst>
                                </p:cTn>
                              </p:par>
                              <p:par>
                                <p:cTn id="30" presetID="18" presetClass="entr" presetSubtype="12" fill="hold" nodeType="withEffect">
                                  <p:stCondLst>
                                    <p:cond delay="1250"/>
                                  </p:stCondLst>
                                  <p:childTnLst>
                                    <p:set>
                                      <p:cBhvr>
                                        <p:cTn id="31" dur="1" fill="hold">
                                          <p:stCondLst>
                                            <p:cond delay="0"/>
                                          </p:stCondLst>
                                        </p:cTn>
                                        <p:tgtEl>
                                          <p:spTgt spid="110"/>
                                        </p:tgtEl>
                                        <p:attrNameLst>
                                          <p:attrName>style.visibility</p:attrName>
                                        </p:attrNameLst>
                                      </p:cBhvr>
                                      <p:to>
                                        <p:strVal val="visible"/>
                                      </p:to>
                                    </p:set>
                                    <p:animEffect transition="in" filter="strips(downLeft)">
                                      <p:cBhvr>
                                        <p:cTn id="32"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92" grpId="0" animBg="1"/>
      <p:bldP spid="109" grpId="0" animBg="1"/>
      <p:bldP spid="1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noAutofit/>
          </a:bodyPr>
          <a:lstStyle/>
          <a:p>
            <a:pPr marL="273050"/>
            <a:r>
              <a:rPr lang="en-US" sz="4600" dirty="0" smtClean="0"/>
              <a:t>Microsoft </a:t>
            </a:r>
            <a:r>
              <a:rPr lang="en-US" sz="4600" dirty="0"/>
              <a:t>Azure IoT services</a:t>
            </a:r>
          </a:p>
        </p:txBody>
      </p:sp>
      <p:graphicFrame>
        <p:nvGraphicFramePr>
          <p:cNvPr id="32" name="Table 31"/>
          <p:cNvGraphicFramePr>
            <a:graphicFrameLocks noGrp="1"/>
          </p:cNvGraphicFramePr>
          <p:nvPr>
            <p:extLst/>
          </p:nvPr>
        </p:nvGraphicFramePr>
        <p:xfrm>
          <a:off x="720271" y="1385433"/>
          <a:ext cx="10779896" cy="4710566"/>
        </p:xfrm>
        <a:graphic>
          <a:graphicData uri="http://schemas.openxmlformats.org/drawingml/2006/table">
            <a:tbl>
              <a:tblPr firstRow="1" bandRow="1">
                <a:tableStyleId>{5C22544A-7EE6-4342-B048-85BDC9FD1C3A}</a:tableStyleId>
              </a:tblPr>
              <a:tblGrid>
                <a:gridCol w="1507484">
                  <a:extLst>
                    <a:ext uri="{9D8B030D-6E8A-4147-A177-3AD203B41FA5}">
                      <a16:colId xmlns="" xmlns:a16="http://schemas.microsoft.com/office/drawing/2014/main" val="20000"/>
                    </a:ext>
                  </a:extLst>
                </a:gridCol>
                <a:gridCol w="2318103">
                  <a:extLst>
                    <a:ext uri="{9D8B030D-6E8A-4147-A177-3AD203B41FA5}">
                      <a16:colId xmlns="" xmlns:a16="http://schemas.microsoft.com/office/drawing/2014/main" val="20001"/>
                    </a:ext>
                  </a:extLst>
                </a:gridCol>
                <a:gridCol w="2318103">
                  <a:extLst>
                    <a:ext uri="{9D8B030D-6E8A-4147-A177-3AD203B41FA5}">
                      <a16:colId xmlns="" xmlns:a16="http://schemas.microsoft.com/office/drawing/2014/main" val="20002"/>
                    </a:ext>
                  </a:extLst>
                </a:gridCol>
                <a:gridCol w="2318103">
                  <a:extLst>
                    <a:ext uri="{9D8B030D-6E8A-4147-A177-3AD203B41FA5}">
                      <a16:colId xmlns="" xmlns:a16="http://schemas.microsoft.com/office/drawing/2014/main" val="20003"/>
                    </a:ext>
                  </a:extLst>
                </a:gridCol>
                <a:gridCol w="2318103">
                  <a:extLst>
                    <a:ext uri="{9D8B030D-6E8A-4147-A177-3AD203B41FA5}">
                      <a16:colId xmlns="" xmlns:a16="http://schemas.microsoft.com/office/drawing/2014/main" val="20004"/>
                    </a:ext>
                  </a:extLst>
                </a:gridCol>
              </a:tblGrid>
              <a:tr h="470194">
                <a:tc>
                  <a:txBody>
                    <a:bodyPr/>
                    <a:lstStyle/>
                    <a:p>
                      <a:r>
                        <a:rPr lang="en-GB" sz="1800" b="1" dirty="0" smtClean="0">
                          <a:solidFill>
                            <a:srgbClr val="FFFFFF"/>
                          </a:solidFill>
                          <a:latin typeface="+mj-lt"/>
                        </a:rPr>
                        <a:t>Producers</a:t>
                      </a:r>
                      <a:endParaRPr lang="en-US" sz="1800" dirty="0">
                        <a:latin typeface="+mj-lt"/>
                      </a:endParaRPr>
                    </a:p>
                  </a:txBody>
                  <a:tcPr marL="84483" marR="84483" marT="42242" marB="42242"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800" b="1" dirty="0" smtClean="0">
                          <a:solidFill>
                            <a:srgbClr val="FFFFFF"/>
                          </a:solidFill>
                          <a:latin typeface="+mj-lt"/>
                        </a:rPr>
                        <a:t>Connect</a:t>
                      </a:r>
                      <a:r>
                        <a:rPr lang="en-GB" sz="1800" b="1" baseline="0" dirty="0" smtClean="0">
                          <a:solidFill>
                            <a:srgbClr val="FFFFFF"/>
                          </a:solidFill>
                          <a:latin typeface="+mj-lt"/>
                        </a:rPr>
                        <a:t> Devices</a:t>
                      </a:r>
                      <a:endParaRPr lang="en-GB" sz="1800" b="1" dirty="0" smtClean="0">
                        <a:solidFill>
                          <a:srgbClr val="FFFFFF"/>
                        </a:solidFill>
                        <a:latin typeface="+mj-lt"/>
                      </a:endParaRPr>
                    </a:p>
                  </a:txBody>
                  <a:tcPr marL="84483" marR="84483"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smtClean="0">
                          <a:solidFill>
                            <a:srgbClr val="FFFFFF"/>
                          </a:solidFill>
                          <a:latin typeface="+mj-lt"/>
                        </a:rPr>
                        <a:t>Storage</a:t>
                      </a:r>
                      <a:endParaRPr lang="en-US" sz="1800" dirty="0">
                        <a:latin typeface="+mj-lt"/>
                      </a:endParaRPr>
                    </a:p>
                  </a:txBody>
                  <a:tcPr marL="84483" marR="84483"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smtClean="0">
                          <a:solidFill>
                            <a:srgbClr val="FFFFFF"/>
                          </a:solidFill>
                          <a:latin typeface="+mj-lt"/>
                        </a:rPr>
                        <a:t>Analytics</a:t>
                      </a:r>
                      <a:endParaRPr lang="en-US" sz="1800" dirty="0">
                        <a:latin typeface="+mj-lt"/>
                      </a:endParaRPr>
                    </a:p>
                  </a:txBody>
                  <a:tcPr marL="84483" marR="84483"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800" b="1" kern="1200" dirty="0" smtClean="0">
                          <a:solidFill>
                            <a:srgbClr val="FFFFFF"/>
                          </a:solidFill>
                          <a:latin typeface="+mn-lt"/>
                          <a:ea typeface="+mn-ea"/>
                          <a:cs typeface="+mn-cs"/>
                        </a:rPr>
                        <a:t>Take Action</a:t>
                      </a:r>
                    </a:p>
                  </a:txBody>
                  <a:tcPr marL="84483" marR="84483"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825318">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zure Websites</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 xmlns:a16="http://schemas.microsoft.com/office/drawing/2014/main" val="10001"/>
                  </a:ext>
                </a:extLst>
              </a:tr>
              <a:tr h="825318">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 xmlns:a16="http://schemas.microsoft.com/office/drawing/2014/main" val="10002"/>
                  </a:ext>
                </a:extLst>
              </a:tr>
              <a:tr h="825318">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 xmlns:a16="http://schemas.microsoft.com/office/drawing/2014/main" val="10003"/>
                  </a:ext>
                </a:extLst>
              </a:tr>
              <a:tr h="939100">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 xmlns:a16="http://schemas.microsoft.com/office/drawing/2014/main" val="10004"/>
                  </a:ext>
                </a:extLst>
              </a:tr>
              <a:tr h="825318">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 xmlns:a16="http://schemas.microsoft.com/office/drawing/2014/main" val="10005"/>
                  </a:ext>
                </a:extLst>
              </a:tr>
            </a:tbl>
          </a:graphicData>
        </a:graphic>
      </p:graphicFrame>
      <p:grpSp>
        <p:nvGrpSpPr>
          <p:cNvPr id="33" name="Group 32"/>
          <p:cNvGrpSpPr>
            <a:grpSpLocks noChangeAspect="1"/>
          </p:cNvGrpSpPr>
          <p:nvPr/>
        </p:nvGrpSpPr>
        <p:grpSpPr>
          <a:xfrm>
            <a:off x="1015538" y="1982670"/>
            <a:ext cx="840543" cy="607057"/>
            <a:chOff x="5893817" y="-2363993"/>
            <a:chExt cx="1589176" cy="1147736"/>
          </a:xfrm>
        </p:grpSpPr>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85204">
                  <a:defRPr/>
                </a:pPr>
                <a:endParaRPr lang="en-US" sz="882" kern="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85204">
                  <a:defRPr/>
                </a:pPr>
                <a:endParaRPr lang="en-US" sz="882" kern="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85204">
                  <a:defRPr/>
                </a:pPr>
                <a:endParaRPr lang="en-US" sz="882" kern="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210" tIns="33604" rIns="67210" bIns="33604" numCol="1" rtlCol="0" anchor="ctr" anchorCtr="0" compatLnSpc="1">
              <a:prstTxWarp prst="textNoShape">
                <a:avLst/>
              </a:prstTxWarp>
            </a:bodyPr>
            <a:lstStyle/>
            <a:p>
              <a:pPr algn="ctr" defTabSz="604530">
                <a:defRPr/>
              </a:pPr>
              <a:endParaRPr lang="en-US" sz="1324"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val="0"/>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89" tIns="32945" rIns="65889" bIns="32945" numCol="1" rtlCol="0" anchor="ctr" anchorCtr="0" compatLnSpc="1">
              <a:prstTxWarp prst="textNoShape">
                <a:avLst/>
              </a:prstTxWarp>
            </a:bodyPr>
            <a:lstStyle/>
            <a:p>
              <a:pPr algn="ctr" defTabSz="658256" fontAlgn="base">
                <a:spcBef>
                  <a:spcPct val="0"/>
                </a:spcBef>
                <a:spcAft>
                  <a:spcPct val="0"/>
                </a:spcAft>
                <a:defRPr/>
              </a:pPr>
              <a:endParaRPr lang="en-US" sz="1250" kern="0" dirty="0">
                <a:solidFill>
                  <a:srgbClr val="000000"/>
                </a:solidFill>
              </a:endParaRPr>
            </a:p>
          </p:txBody>
        </p:sp>
      </p:grpSp>
      <p:grpSp>
        <p:nvGrpSpPr>
          <p:cNvPr id="43" name="Group 42"/>
          <p:cNvGrpSpPr>
            <a:grpSpLocks noChangeAspect="1"/>
          </p:cNvGrpSpPr>
          <p:nvPr/>
        </p:nvGrpSpPr>
        <p:grpSpPr>
          <a:xfrm>
            <a:off x="1161088" y="2867021"/>
            <a:ext cx="681826" cy="506509"/>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7213" tIns="33606" rIns="67213" bIns="33606" numCol="1" anchor="t" anchorCtr="0" compatLnSpc="1">
              <a:prstTxWarp prst="textNoShape">
                <a:avLst/>
              </a:prstTxWarp>
            </a:bodyPr>
            <a:lstStyle/>
            <a:p>
              <a:pPr algn="ctr" defTabSz="685204">
                <a:defRPr/>
              </a:pPr>
              <a:endParaRPr lang="en-US" sz="1324"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13" tIns="33606" rIns="33606" bIns="67213" numCol="1" spcCol="0" rtlCol="0" fromWordArt="0" anchor="b" anchorCtr="0" forceAA="0" compatLnSpc="1">
              <a:prstTxWarp prst="textNoShape">
                <a:avLst/>
              </a:prstTxWarp>
              <a:noAutofit/>
            </a:bodyPr>
            <a:lstStyle/>
            <a:p>
              <a:pPr algn="ctr" defTabSz="671483" fontAlgn="base">
                <a:spcBef>
                  <a:spcPct val="0"/>
                </a:spcBef>
                <a:spcAft>
                  <a:spcPct val="0"/>
                </a:spcAft>
                <a:defRPr/>
              </a:pPr>
              <a:endParaRPr lang="en-US" sz="735" kern="0" dirty="0" err="1">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5891" tIns="32946" rIns="65891" bIns="32946" numCol="1" anchor="t" anchorCtr="0" compatLnSpc="1">
              <a:prstTxWarp prst="textNoShape">
                <a:avLst/>
              </a:prstTxWarp>
            </a:bodyPr>
            <a:lstStyle/>
            <a:p>
              <a:pPr algn="ctr" defTabSz="658472">
                <a:defRPr/>
              </a:pPr>
              <a:endParaRPr lang="en-US" sz="1250" kern="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13" tIns="33606" rIns="806554" bIns="33606" numCol="1" spcCol="0" rtlCol="0" fromWordArt="0" anchor="b" anchorCtr="0" forceAA="0" compatLnSpc="1">
              <a:prstTxWarp prst="textNoShape">
                <a:avLst/>
              </a:prstTxWarp>
              <a:noAutofit/>
            </a:bodyPr>
            <a:lstStyle/>
            <a:p>
              <a:pPr defTabSz="671483" fontAlgn="base">
                <a:spcBef>
                  <a:spcPct val="0"/>
                </a:spcBef>
                <a:spcAft>
                  <a:spcPct val="0"/>
                </a:spcAft>
                <a:defRPr/>
              </a:pPr>
              <a:endParaRPr lang="en-US" sz="1618" kern="0" spc="-37" dirty="0" err="1">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178"/>
              <a:endParaRPr lang="en-US" sz="1544">
                <a:solidFill>
                  <a:srgbClr val="000000"/>
                </a:solidFill>
              </a:endParaRPr>
            </a:p>
          </p:txBody>
        </p:sp>
      </p:grpSp>
      <p:grpSp>
        <p:nvGrpSpPr>
          <p:cNvPr id="67" name="Group 66"/>
          <p:cNvGrpSpPr/>
          <p:nvPr/>
        </p:nvGrpSpPr>
        <p:grpSpPr>
          <a:xfrm>
            <a:off x="1418643" y="3686236"/>
            <a:ext cx="541502" cy="329128"/>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13" tIns="33606" rIns="33606" bIns="67213" numCol="1" spcCol="0" rtlCol="0" fromWordArt="0" anchor="b" anchorCtr="0" forceAA="0" compatLnSpc="1">
              <a:prstTxWarp prst="textNoShape">
                <a:avLst/>
              </a:prstTxWarp>
              <a:noAutofit/>
            </a:bodyPr>
            <a:lstStyle/>
            <a:p>
              <a:pPr algn="ctr" defTabSz="671483" fontAlgn="base">
                <a:spcBef>
                  <a:spcPct val="0"/>
                </a:spcBef>
                <a:spcAft>
                  <a:spcPct val="0"/>
                </a:spcAft>
                <a:defRPr/>
              </a:pPr>
              <a:endParaRPr lang="en-US" sz="1324" kern="0" spc="-37" dirty="0" err="1">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0655" tIns="40328" rIns="40328" bIns="80655" numCol="1" spcCol="0" rtlCol="0" fromWordArt="0" anchor="b" anchorCtr="0" forceAA="0" compatLnSpc="1">
              <a:prstTxWarp prst="textNoShape">
                <a:avLst/>
              </a:prstTxWarp>
              <a:noAutofit/>
            </a:bodyPr>
            <a:lstStyle/>
            <a:p>
              <a:pPr algn="ctr" defTabSz="805781" fontAlgn="base">
                <a:spcBef>
                  <a:spcPct val="0"/>
                </a:spcBef>
                <a:spcAft>
                  <a:spcPct val="0"/>
                </a:spcAft>
                <a:defRPr/>
              </a:pPr>
              <a:endParaRPr lang="en-US" sz="1765" kern="0" spc="-44" dirty="0" err="1">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3097" y="3634671"/>
            <a:ext cx="470623" cy="470623"/>
          </a:xfrm>
          <a:prstGeom prst="rect">
            <a:avLst/>
          </a:prstGeom>
        </p:spPr>
      </p:pic>
      <p:pic>
        <p:nvPicPr>
          <p:cNvPr id="79" name="Picture 78"/>
          <p:cNvPicPr>
            <a:picLocks noChangeAspect="1"/>
          </p:cNvPicPr>
          <p:nvPr/>
        </p:nvPicPr>
        <p:blipFill>
          <a:blip r:embed="rId8"/>
          <a:stretch>
            <a:fillRect/>
          </a:stretch>
        </p:blipFill>
        <p:spPr>
          <a:xfrm>
            <a:off x="2467442" y="2037840"/>
            <a:ext cx="338419" cy="390234"/>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9" cstate="print">
            <a:lum bright="100000"/>
          </a:blip>
          <a:srcRect/>
          <a:stretch>
            <a:fillRect/>
          </a:stretch>
        </p:blipFill>
        <p:spPr bwMode="auto">
          <a:xfrm>
            <a:off x="2359232" y="3689875"/>
            <a:ext cx="463211" cy="463211"/>
          </a:xfrm>
          <a:prstGeom prst="rect">
            <a:avLst/>
          </a:prstGeom>
          <a:noFill/>
        </p:spPr>
      </p:pic>
      <p:pic>
        <p:nvPicPr>
          <p:cNvPr id="83" name="Picture 3"/>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675076" y="2013913"/>
            <a:ext cx="415468" cy="43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661387" y="2905149"/>
            <a:ext cx="442849" cy="38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494380" y="3519184"/>
            <a:ext cx="776860" cy="776860"/>
          </a:xfrm>
          <a:prstGeom prst="rect">
            <a:avLst/>
          </a:prstGeom>
        </p:spPr>
      </p:pic>
      <p:sp>
        <p:nvSpPr>
          <p:cNvPr id="89" name="TextBox 88"/>
          <p:cNvSpPr txBox="1"/>
          <p:nvPr/>
        </p:nvSpPr>
        <p:spPr>
          <a:xfrm>
            <a:off x="4715473" y="3850800"/>
            <a:ext cx="357727" cy="230832"/>
          </a:xfrm>
          <a:prstGeom prst="rect">
            <a:avLst/>
          </a:prstGeom>
          <a:noFill/>
          <a:ln>
            <a:noFill/>
            <a:headEnd type="none" w="med" len="med"/>
            <a:tailEnd type="none" w="med" len="med"/>
          </a:ln>
        </p:spPr>
        <p:txBody>
          <a:bodyPr wrap="square" lIns="0" tIns="0" rIns="0" bIns="0" rtlCol="0">
            <a:spAutoFit/>
          </a:bodyPr>
          <a:lstStyle/>
          <a:p>
            <a:pPr algn="ctr" defTabSz="685739"/>
            <a:r>
              <a:rPr lang="en-US" sz="1500" spc="-29"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9" cstate="print">
            <a:lum bright="100000"/>
          </a:blip>
          <a:srcRect/>
          <a:stretch>
            <a:fillRect/>
          </a:stretch>
        </p:blipFill>
        <p:spPr bwMode="auto">
          <a:xfrm>
            <a:off x="4651207" y="4591906"/>
            <a:ext cx="463211" cy="463211"/>
          </a:xfrm>
          <a:prstGeom prst="rect">
            <a:avLst/>
          </a:prstGeom>
          <a:noFill/>
        </p:spPr>
      </p:pic>
      <p:pic>
        <p:nvPicPr>
          <p:cNvPr id="91" name="Picture 90"/>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6842948" y="1863389"/>
            <a:ext cx="739136" cy="739136"/>
          </a:xfrm>
          <a:prstGeom prst="rect">
            <a:avLst/>
          </a:prstGeom>
        </p:spPr>
      </p:pic>
      <p:pic>
        <p:nvPicPr>
          <p:cNvPr id="92" name="Picture 2" descr="image00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950052" y="3735471"/>
            <a:ext cx="547976" cy="4069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93" name="Picture 92"/>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6915160" y="2843409"/>
            <a:ext cx="558341" cy="453418"/>
          </a:xfrm>
          <a:prstGeom prst="rect">
            <a:avLst/>
          </a:prstGeom>
        </p:spPr>
      </p:pic>
      <p:pic>
        <p:nvPicPr>
          <p:cNvPr id="95" name="Picture 11"/>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9362681" y="2024032"/>
            <a:ext cx="421421" cy="417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437083" y="4603312"/>
            <a:ext cx="272614" cy="44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9401626" y="3771591"/>
            <a:ext cx="366578" cy="366578"/>
          </a:xfrm>
          <a:prstGeom prst="rect">
            <a:avLst/>
          </a:prstGeom>
        </p:spPr>
      </p:pic>
      <p:pic>
        <p:nvPicPr>
          <p:cNvPr id="98" name="Picture 97"/>
          <p:cNvPicPr>
            <a:picLocks noChangeAspect="1"/>
          </p:cNvPicPr>
          <p:nvPr/>
        </p:nvPicPr>
        <p:blipFill rotWithShape="1">
          <a:blip r:embed="rId19" cstate="screen">
            <a:extLst>
              <a:ext uri="{28A0092B-C50C-407E-A947-70E740481C1C}">
                <a14:useLocalDpi xmlns:a14="http://schemas.microsoft.com/office/drawing/2010/main" val="0"/>
              </a:ext>
            </a:extLst>
          </a:blip>
          <a:srcRect t="-1" r="-9452" b="-4026"/>
          <a:stretch/>
        </p:blipFill>
        <p:spPr>
          <a:xfrm>
            <a:off x="9383024" y="2899174"/>
            <a:ext cx="385181" cy="373799"/>
          </a:xfrm>
          <a:prstGeom prst="rect">
            <a:avLst/>
          </a:prstGeom>
        </p:spPr>
      </p:pic>
      <p:pic>
        <p:nvPicPr>
          <p:cNvPr id="3" name="Picture 2"/>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7016345" y="4557666"/>
            <a:ext cx="470161" cy="470161"/>
          </a:xfrm>
          <a:prstGeom prst="rect">
            <a:avLst/>
          </a:prstGeom>
        </p:spPr>
      </p:pic>
      <p:pic>
        <p:nvPicPr>
          <p:cNvPr id="4" name="Picture 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2454784" y="2897989"/>
            <a:ext cx="398838" cy="398838"/>
          </a:xfrm>
          <a:prstGeom prst="rect">
            <a:avLst/>
          </a:prstGeom>
        </p:spPr>
      </p:pic>
      <p:pic>
        <p:nvPicPr>
          <p:cNvPr id="5" name="Picture 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362680" y="5446357"/>
            <a:ext cx="478512" cy="478512"/>
          </a:xfrm>
          <a:prstGeom prst="rect">
            <a:avLst/>
          </a:prstGeom>
        </p:spPr>
      </p:pic>
      <p:sp>
        <p:nvSpPr>
          <p:cNvPr id="2" name="Rectangle 1"/>
          <p:cNvSpPr/>
          <p:nvPr/>
        </p:nvSpPr>
        <p:spPr>
          <a:xfrm>
            <a:off x="6935987" y="-429141"/>
            <a:ext cx="1153714" cy="369332"/>
          </a:xfrm>
          <a:prstGeom prst="rect">
            <a:avLst/>
          </a:prstGeom>
        </p:spPr>
        <p:txBody>
          <a:bodyPr wrap="none">
            <a:spAutoFit/>
          </a:bodyPr>
          <a:lstStyle/>
          <a:p>
            <a:pPr lvl="0"/>
            <a:r>
              <a:rPr lang="en-GB" b="1" dirty="0">
                <a:solidFill>
                  <a:srgbClr val="FFFFFF"/>
                </a:solidFill>
                <a:latin typeface="Segoe UI Light"/>
              </a:rPr>
              <a:t>Producers</a:t>
            </a:r>
            <a:endParaRPr lang="en-US" b="1" dirty="0">
              <a:solidFill>
                <a:prstClr val="white"/>
              </a:solidFill>
              <a:latin typeface="Segoe UI Light"/>
            </a:endParaRPr>
          </a:p>
        </p:txBody>
      </p:sp>
    </p:spTree>
    <p:extLst>
      <p:ext uri="{BB962C8B-B14F-4D97-AF65-F5344CB8AC3E}">
        <p14:creationId xmlns:p14="http://schemas.microsoft.com/office/powerpoint/2010/main" val="133832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79"/>
                                        </p:tgtEl>
                                        <p:attrNameLst>
                                          <p:attrName>style.visibility</p:attrName>
                                        </p:attrNameLst>
                                      </p:cBhvr>
                                      <p:to>
                                        <p:strVal val="visible"/>
                                      </p:to>
                                    </p:set>
                                    <p:anim calcmode="lin" valueType="num">
                                      <p:cBhvr additive="base">
                                        <p:cTn id="15" dur="500" fill="hold"/>
                                        <p:tgtEl>
                                          <p:spTgt spid="79"/>
                                        </p:tgtEl>
                                        <p:attrNameLst>
                                          <p:attrName>ppt_x</p:attrName>
                                        </p:attrNameLst>
                                      </p:cBhvr>
                                      <p:tavLst>
                                        <p:tav tm="0">
                                          <p:val>
                                            <p:strVal val="1+#ppt_w/2"/>
                                          </p:val>
                                        </p:tav>
                                        <p:tav tm="100000">
                                          <p:val>
                                            <p:strVal val="#ppt_x"/>
                                          </p:val>
                                        </p:tav>
                                      </p:tavLst>
                                    </p:anim>
                                    <p:anim calcmode="lin" valueType="num">
                                      <p:cBhvr additive="base">
                                        <p:cTn id="16" dur="500" fill="hold"/>
                                        <p:tgtEl>
                                          <p:spTgt spid="79"/>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2"/>
                                        </p:tgtEl>
                                        <p:attrNameLst>
                                          <p:attrName>style.visibility</p:attrName>
                                        </p:attrNameLst>
                                      </p:cBhvr>
                                      <p:to>
                                        <p:strVal val="visible"/>
                                      </p:to>
                                    </p:set>
                                    <p:anim calcmode="lin" valueType="num">
                                      <p:cBhvr additive="base">
                                        <p:cTn id="19" dur="500" fill="hold"/>
                                        <p:tgtEl>
                                          <p:spTgt spid="82"/>
                                        </p:tgtEl>
                                        <p:attrNameLst>
                                          <p:attrName>ppt_x</p:attrName>
                                        </p:attrNameLst>
                                      </p:cBhvr>
                                      <p:tavLst>
                                        <p:tav tm="0">
                                          <p:val>
                                            <p:strVal val="1+#ppt_w/2"/>
                                          </p:val>
                                        </p:tav>
                                        <p:tav tm="100000">
                                          <p:val>
                                            <p:strVal val="#ppt_x"/>
                                          </p:val>
                                        </p:tav>
                                      </p:tavLst>
                                    </p:anim>
                                    <p:anim calcmode="lin" valueType="num">
                                      <p:cBhvr additive="base">
                                        <p:cTn id="20" dur="500" fill="hold"/>
                                        <p:tgtEl>
                                          <p:spTgt spid="82"/>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3"/>
                                        </p:tgtEl>
                                        <p:attrNameLst>
                                          <p:attrName>style.visibility</p:attrName>
                                        </p:attrNameLst>
                                      </p:cBhvr>
                                      <p:to>
                                        <p:strVal val="visible"/>
                                      </p:to>
                                    </p:set>
                                    <p:anim calcmode="lin" valueType="num">
                                      <p:cBhvr additive="base">
                                        <p:cTn id="23" dur="500" fill="hold"/>
                                        <p:tgtEl>
                                          <p:spTgt spid="83"/>
                                        </p:tgtEl>
                                        <p:attrNameLst>
                                          <p:attrName>ppt_x</p:attrName>
                                        </p:attrNameLst>
                                      </p:cBhvr>
                                      <p:tavLst>
                                        <p:tav tm="0">
                                          <p:val>
                                            <p:strVal val="1+#ppt_w/2"/>
                                          </p:val>
                                        </p:tav>
                                        <p:tav tm="100000">
                                          <p:val>
                                            <p:strVal val="#ppt_x"/>
                                          </p:val>
                                        </p:tav>
                                      </p:tavLst>
                                    </p:anim>
                                    <p:anim calcmode="lin" valueType="num">
                                      <p:cBhvr additive="base">
                                        <p:cTn id="24" dur="500" fill="hold"/>
                                        <p:tgtEl>
                                          <p:spTgt spid="83"/>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87"/>
                                        </p:tgtEl>
                                        <p:attrNameLst>
                                          <p:attrName>style.visibility</p:attrName>
                                        </p:attrNameLst>
                                      </p:cBhvr>
                                      <p:to>
                                        <p:strVal val="visible"/>
                                      </p:to>
                                    </p:set>
                                    <p:anim calcmode="lin" valueType="num">
                                      <p:cBhvr additive="base">
                                        <p:cTn id="27" dur="500" fill="hold"/>
                                        <p:tgtEl>
                                          <p:spTgt spid="87"/>
                                        </p:tgtEl>
                                        <p:attrNameLst>
                                          <p:attrName>ppt_x</p:attrName>
                                        </p:attrNameLst>
                                      </p:cBhvr>
                                      <p:tavLst>
                                        <p:tav tm="0">
                                          <p:val>
                                            <p:strVal val="1+#ppt_w/2"/>
                                          </p:val>
                                        </p:tav>
                                        <p:tav tm="100000">
                                          <p:val>
                                            <p:strVal val="#ppt_x"/>
                                          </p:val>
                                        </p:tav>
                                      </p:tavLst>
                                    </p:anim>
                                    <p:anim calcmode="lin" valueType="num">
                                      <p:cBhvr additive="base">
                                        <p:cTn id="28" dur="500" fill="hold"/>
                                        <p:tgtEl>
                                          <p:spTgt spid="87"/>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89"/>
                                        </p:tgtEl>
                                        <p:attrNameLst>
                                          <p:attrName>style.visibility</p:attrName>
                                        </p:attrNameLst>
                                      </p:cBhvr>
                                      <p:to>
                                        <p:strVal val="visible"/>
                                      </p:to>
                                    </p:set>
                                    <p:anim calcmode="lin" valueType="num">
                                      <p:cBhvr additive="base">
                                        <p:cTn id="31" dur="500" fill="hold"/>
                                        <p:tgtEl>
                                          <p:spTgt spid="89"/>
                                        </p:tgtEl>
                                        <p:attrNameLst>
                                          <p:attrName>ppt_x</p:attrName>
                                        </p:attrNameLst>
                                      </p:cBhvr>
                                      <p:tavLst>
                                        <p:tav tm="0">
                                          <p:val>
                                            <p:strVal val="1+#ppt_w/2"/>
                                          </p:val>
                                        </p:tav>
                                        <p:tav tm="100000">
                                          <p:val>
                                            <p:strVal val="#ppt_x"/>
                                          </p:val>
                                        </p:tav>
                                      </p:tavLst>
                                    </p:anim>
                                    <p:anim calcmode="lin" valueType="num">
                                      <p:cBhvr additive="base">
                                        <p:cTn id="32" dur="500" fill="hold"/>
                                        <p:tgtEl>
                                          <p:spTgt spid="89"/>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1"/>
                                        </p:tgtEl>
                                        <p:attrNameLst>
                                          <p:attrName>style.visibility</p:attrName>
                                        </p:attrNameLst>
                                      </p:cBhvr>
                                      <p:to>
                                        <p:strVal val="visible"/>
                                      </p:to>
                                    </p:set>
                                    <p:anim calcmode="lin" valueType="num">
                                      <p:cBhvr additive="base">
                                        <p:cTn id="35" dur="500" fill="hold"/>
                                        <p:tgtEl>
                                          <p:spTgt spid="91"/>
                                        </p:tgtEl>
                                        <p:attrNameLst>
                                          <p:attrName>ppt_x</p:attrName>
                                        </p:attrNameLst>
                                      </p:cBhvr>
                                      <p:tavLst>
                                        <p:tav tm="0">
                                          <p:val>
                                            <p:strVal val="1+#ppt_w/2"/>
                                          </p:val>
                                        </p:tav>
                                        <p:tav tm="100000">
                                          <p:val>
                                            <p:strVal val="#ppt_x"/>
                                          </p:val>
                                        </p:tav>
                                      </p:tavLst>
                                    </p:anim>
                                    <p:anim calcmode="lin" valueType="num">
                                      <p:cBhvr additive="base">
                                        <p:cTn id="36" dur="500" fill="hold"/>
                                        <p:tgtEl>
                                          <p:spTgt spid="91"/>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2"/>
                                        </p:tgtEl>
                                        <p:attrNameLst>
                                          <p:attrName>style.visibility</p:attrName>
                                        </p:attrNameLst>
                                      </p:cBhvr>
                                      <p:to>
                                        <p:strVal val="visible"/>
                                      </p:to>
                                    </p:set>
                                    <p:anim calcmode="lin" valueType="num">
                                      <p:cBhvr additive="base">
                                        <p:cTn id="39" dur="500" fill="hold"/>
                                        <p:tgtEl>
                                          <p:spTgt spid="92"/>
                                        </p:tgtEl>
                                        <p:attrNameLst>
                                          <p:attrName>ppt_x</p:attrName>
                                        </p:attrNameLst>
                                      </p:cBhvr>
                                      <p:tavLst>
                                        <p:tav tm="0">
                                          <p:val>
                                            <p:strVal val="1+#ppt_w/2"/>
                                          </p:val>
                                        </p:tav>
                                        <p:tav tm="100000">
                                          <p:val>
                                            <p:strVal val="#ppt_x"/>
                                          </p:val>
                                        </p:tav>
                                      </p:tavLst>
                                    </p:anim>
                                    <p:anim calcmode="lin" valueType="num">
                                      <p:cBhvr additive="base">
                                        <p:cTn id="40" dur="500" fill="hold"/>
                                        <p:tgtEl>
                                          <p:spTgt spid="92"/>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3"/>
                                        </p:tgtEl>
                                        <p:attrNameLst>
                                          <p:attrName>style.visibility</p:attrName>
                                        </p:attrNameLst>
                                      </p:cBhvr>
                                      <p:to>
                                        <p:strVal val="visible"/>
                                      </p:to>
                                    </p:set>
                                    <p:anim calcmode="lin" valueType="num">
                                      <p:cBhvr additive="base">
                                        <p:cTn id="43" dur="500" fill="hold"/>
                                        <p:tgtEl>
                                          <p:spTgt spid="93"/>
                                        </p:tgtEl>
                                        <p:attrNameLst>
                                          <p:attrName>ppt_x</p:attrName>
                                        </p:attrNameLst>
                                      </p:cBhvr>
                                      <p:tavLst>
                                        <p:tav tm="0">
                                          <p:val>
                                            <p:strVal val="1+#ppt_w/2"/>
                                          </p:val>
                                        </p:tav>
                                        <p:tav tm="100000">
                                          <p:val>
                                            <p:strVal val="#ppt_x"/>
                                          </p:val>
                                        </p:tav>
                                      </p:tavLst>
                                    </p:anim>
                                    <p:anim calcmode="lin" valueType="num">
                                      <p:cBhvr additive="base">
                                        <p:cTn id="44" dur="500" fill="hold"/>
                                        <p:tgtEl>
                                          <p:spTgt spid="93"/>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5"/>
                                        </p:tgtEl>
                                        <p:attrNameLst>
                                          <p:attrName>style.visibility</p:attrName>
                                        </p:attrNameLst>
                                      </p:cBhvr>
                                      <p:to>
                                        <p:strVal val="visible"/>
                                      </p:to>
                                    </p:set>
                                    <p:anim calcmode="lin" valueType="num">
                                      <p:cBhvr additive="base">
                                        <p:cTn id="47" dur="500" fill="hold"/>
                                        <p:tgtEl>
                                          <p:spTgt spid="95"/>
                                        </p:tgtEl>
                                        <p:attrNameLst>
                                          <p:attrName>ppt_x</p:attrName>
                                        </p:attrNameLst>
                                      </p:cBhvr>
                                      <p:tavLst>
                                        <p:tav tm="0">
                                          <p:val>
                                            <p:strVal val="1+#ppt_w/2"/>
                                          </p:val>
                                        </p:tav>
                                        <p:tav tm="100000">
                                          <p:val>
                                            <p:strVal val="#ppt_x"/>
                                          </p:val>
                                        </p:tav>
                                      </p:tavLst>
                                    </p:anim>
                                    <p:anim calcmode="lin" valueType="num">
                                      <p:cBhvr additive="base">
                                        <p:cTn id="48" dur="500" fill="hold"/>
                                        <p:tgtEl>
                                          <p:spTgt spid="95"/>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96"/>
                                        </p:tgtEl>
                                        <p:attrNameLst>
                                          <p:attrName>style.visibility</p:attrName>
                                        </p:attrNameLst>
                                      </p:cBhvr>
                                      <p:to>
                                        <p:strVal val="visible"/>
                                      </p:to>
                                    </p:set>
                                    <p:anim calcmode="lin" valueType="num">
                                      <p:cBhvr additive="base">
                                        <p:cTn id="51" dur="500" fill="hold"/>
                                        <p:tgtEl>
                                          <p:spTgt spid="96"/>
                                        </p:tgtEl>
                                        <p:attrNameLst>
                                          <p:attrName>ppt_x</p:attrName>
                                        </p:attrNameLst>
                                      </p:cBhvr>
                                      <p:tavLst>
                                        <p:tav tm="0">
                                          <p:val>
                                            <p:strVal val="1+#ppt_w/2"/>
                                          </p:val>
                                        </p:tav>
                                        <p:tav tm="100000">
                                          <p:val>
                                            <p:strVal val="#ppt_x"/>
                                          </p:val>
                                        </p:tav>
                                      </p:tavLst>
                                    </p:anim>
                                    <p:anim calcmode="lin" valueType="num">
                                      <p:cBhvr additive="base">
                                        <p:cTn id="52" dur="500" fill="hold"/>
                                        <p:tgtEl>
                                          <p:spTgt spid="96"/>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97"/>
                                        </p:tgtEl>
                                        <p:attrNameLst>
                                          <p:attrName>style.visibility</p:attrName>
                                        </p:attrNameLst>
                                      </p:cBhvr>
                                      <p:to>
                                        <p:strVal val="visible"/>
                                      </p:to>
                                    </p:set>
                                    <p:anim calcmode="lin" valueType="num">
                                      <p:cBhvr additive="base">
                                        <p:cTn id="55" dur="500" fill="hold"/>
                                        <p:tgtEl>
                                          <p:spTgt spid="97"/>
                                        </p:tgtEl>
                                        <p:attrNameLst>
                                          <p:attrName>ppt_x</p:attrName>
                                        </p:attrNameLst>
                                      </p:cBhvr>
                                      <p:tavLst>
                                        <p:tav tm="0">
                                          <p:val>
                                            <p:strVal val="1+#ppt_w/2"/>
                                          </p:val>
                                        </p:tav>
                                        <p:tav tm="100000">
                                          <p:val>
                                            <p:strVal val="#ppt_x"/>
                                          </p:val>
                                        </p:tav>
                                      </p:tavLst>
                                    </p:anim>
                                    <p:anim calcmode="lin" valueType="num">
                                      <p:cBhvr additive="base">
                                        <p:cTn id="56" dur="500" fill="hold"/>
                                        <p:tgtEl>
                                          <p:spTgt spid="97"/>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98"/>
                                        </p:tgtEl>
                                        <p:attrNameLst>
                                          <p:attrName>style.visibility</p:attrName>
                                        </p:attrNameLst>
                                      </p:cBhvr>
                                      <p:to>
                                        <p:strVal val="visible"/>
                                      </p:to>
                                    </p:set>
                                    <p:anim calcmode="lin" valueType="num">
                                      <p:cBhvr additive="base">
                                        <p:cTn id="59" dur="500" fill="hold"/>
                                        <p:tgtEl>
                                          <p:spTgt spid="98"/>
                                        </p:tgtEl>
                                        <p:attrNameLst>
                                          <p:attrName>ppt_x</p:attrName>
                                        </p:attrNameLst>
                                      </p:cBhvr>
                                      <p:tavLst>
                                        <p:tav tm="0">
                                          <p:val>
                                            <p:strVal val="1+#ppt_w/2"/>
                                          </p:val>
                                        </p:tav>
                                        <p:tav tm="100000">
                                          <p:val>
                                            <p:strVal val="#ppt_x"/>
                                          </p:val>
                                        </p:tav>
                                      </p:tavLst>
                                    </p:anim>
                                    <p:anim calcmode="lin" valueType="num">
                                      <p:cBhvr additive="base">
                                        <p:cTn id="60" dur="500" fill="hold"/>
                                        <p:tgtEl>
                                          <p:spTgt spid="98"/>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67"/>
                                        </p:tgtEl>
                                        <p:attrNameLst>
                                          <p:attrName>style.visibility</p:attrName>
                                        </p:attrNameLst>
                                      </p:cBhvr>
                                      <p:to>
                                        <p:strVal val="visible"/>
                                      </p:to>
                                    </p:set>
                                    <p:anim calcmode="lin" valueType="num">
                                      <p:cBhvr additive="base">
                                        <p:cTn id="63" dur="500" fill="hold"/>
                                        <p:tgtEl>
                                          <p:spTgt spid="67"/>
                                        </p:tgtEl>
                                        <p:attrNameLst>
                                          <p:attrName>ppt_x</p:attrName>
                                        </p:attrNameLst>
                                      </p:cBhvr>
                                      <p:tavLst>
                                        <p:tav tm="0">
                                          <p:val>
                                            <p:strVal val="1+#ppt_w/2"/>
                                          </p:val>
                                        </p:tav>
                                        <p:tav tm="100000">
                                          <p:val>
                                            <p:strVal val="#ppt_x"/>
                                          </p:val>
                                        </p:tav>
                                      </p:tavLst>
                                    </p:anim>
                                    <p:anim calcmode="lin" valueType="num">
                                      <p:cBhvr additive="base">
                                        <p:cTn id="64" dur="500" fill="hold"/>
                                        <p:tgtEl>
                                          <p:spTgt spid="67"/>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43"/>
                                        </p:tgtEl>
                                        <p:attrNameLst>
                                          <p:attrName>style.visibility</p:attrName>
                                        </p:attrNameLst>
                                      </p:cBhvr>
                                      <p:to>
                                        <p:strVal val="visible"/>
                                      </p:to>
                                    </p:set>
                                    <p:anim calcmode="lin" valueType="num">
                                      <p:cBhvr additive="base">
                                        <p:cTn id="67" dur="500" fill="hold"/>
                                        <p:tgtEl>
                                          <p:spTgt spid="43"/>
                                        </p:tgtEl>
                                        <p:attrNameLst>
                                          <p:attrName>ppt_x</p:attrName>
                                        </p:attrNameLst>
                                      </p:cBhvr>
                                      <p:tavLst>
                                        <p:tav tm="0">
                                          <p:val>
                                            <p:strVal val="1+#ppt_w/2"/>
                                          </p:val>
                                        </p:tav>
                                        <p:tav tm="100000">
                                          <p:val>
                                            <p:strVal val="#ppt_x"/>
                                          </p:val>
                                        </p:tav>
                                      </p:tavLst>
                                    </p:anim>
                                    <p:anim calcmode="lin" valueType="num">
                                      <p:cBhvr additive="base">
                                        <p:cTn id="68" dur="500" fill="hold"/>
                                        <p:tgtEl>
                                          <p:spTgt spid="43"/>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3"/>
                                        </p:tgtEl>
                                        <p:attrNameLst>
                                          <p:attrName>style.visibility</p:attrName>
                                        </p:attrNameLst>
                                      </p:cBhvr>
                                      <p:to>
                                        <p:strVal val="visible"/>
                                      </p:to>
                                    </p:set>
                                    <p:anim calcmode="lin" valueType="num">
                                      <p:cBhvr additive="base">
                                        <p:cTn id="71" dur="500" fill="hold"/>
                                        <p:tgtEl>
                                          <p:spTgt spid="33"/>
                                        </p:tgtEl>
                                        <p:attrNameLst>
                                          <p:attrName>ppt_x</p:attrName>
                                        </p:attrNameLst>
                                      </p:cBhvr>
                                      <p:tavLst>
                                        <p:tav tm="0">
                                          <p:val>
                                            <p:strVal val="1+#ppt_w/2"/>
                                          </p:val>
                                        </p:tav>
                                        <p:tav tm="100000">
                                          <p:val>
                                            <p:strVal val="#ppt_x"/>
                                          </p:val>
                                        </p:tav>
                                      </p:tavLst>
                                    </p:anim>
                                    <p:anim calcmode="lin" valueType="num">
                                      <p:cBhvr additive="base">
                                        <p:cTn id="72" dur="500" fill="hold"/>
                                        <p:tgtEl>
                                          <p:spTgt spid="3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90"/>
                                        </p:tgtEl>
                                        <p:attrNameLst>
                                          <p:attrName>style.visibility</p:attrName>
                                        </p:attrNameLst>
                                      </p:cBhvr>
                                      <p:to>
                                        <p:strVal val="visible"/>
                                      </p:to>
                                    </p:set>
                                    <p:anim calcmode="lin" valueType="num">
                                      <p:cBhvr additive="base">
                                        <p:cTn id="75" dur="500" fill="hold"/>
                                        <p:tgtEl>
                                          <p:spTgt spid="90"/>
                                        </p:tgtEl>
                                        <p:attrNameLst>
                                          <p:attrName>ppt_x</p:attrName>
                                        </p:attrNameLst>
                                      </p:cBhvr>
                                      <p:tavLst>
                                        <p:tav tm="0">
                                          <p:val>
                                            <p:strVal val="1+#ppt_w/2"/>
                                          </p:val>
                                        </p:tav>
                                        <p:tav tm="100000">
                                          <p:val>
                                            <p:strVal val="#ppt_x"/>
                                          </p:val>
                                        </p:tav>
                                      </p:tavLst>
                                    </p:anim>
                                    <p:anim calcmode="lin" valueType="num">
                                      <p:cBhvr additive="base">
                                        <p:cTn id="76" dur="500" fill="hold"/>
                                        <p:tgtEl>
                                          <p:spTgt spid="90"/>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88"/>
                                        </p:tgtEl>
                                        <p:attrNameLst>
                                          <p:attrName>style.visibility</p:attrName>
                                        </p:attrNameLst>
                                      </p:cBhvr>
                                      <p:to>
                                        <p:strVal val="visible"/>
                                      </p:to>
                                    </p:set>
                                    <p:anim calcmode="lin" valueType="num">
                                      <p:cBhvr additive="base">
                                        <p:cTn id="79" dur="500" fill="hold"/>
                                        <p:tgtEl>
                                          <p:spTgt spid="88"/>
                                        </p:tgtEl>
                                        <p:attrNameLst>
                                          <p:attrName>ppt_x</p:attrName>
                                        </p:attrNameLst>
                                      </p:cBhvr>
                                      <p:tavLst>
                                        <p:tav tm="0">
                                          <p:val>
                                            <p:strVal val="1+#ppt_w/2"/>
                                          </p:val>
                                        </p:tav>
                                        <p:tav tm="100000">
                                          <p:val>
                                            <p:strVal val="#ppt_x"/>
                                          </p:val>
                                        </p:tav>
                                      </p:tavLst>
                                    </p:anim>
                                    <p:anim calcmode="lin" valueType="num">
                                      <p:cBhvr additive="base">
                                        <p:cTn id="80" dur="500" fill="hold"/>
                                        <p:tgtEl>
                                          <p:spTgt spid="88"/>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3"/>
                                        </p:tgtEl>
                                        <p:attrNameLst>
                                          <p:attrName>style.visibility</p:attrName>
                                        </p:attrNameLst>
                                      </p:cBhvr>
                                      <p:to>
                                        <p:strVal val="visible"/>
                                      </p:to>
                                    </p:set>
                                    <p:anim calcmode="lin" valueType="num">
                                      <p:cBhvr additive="base">
                                        <p:cTn id="83" dur="500" fill="hold"/>
                                        <p:tgtEl>
                                          <p:spTgt spid="3"/>
                                        </p:tgtEl>
                                        <p:attrNameLst>
                                          <p:attrName>ppt_x</p:attrName>
                                        </p:attrNameLst>
                                      </p:cBhvr>
                                      <p:tavLst>
                                        <p:tav tm="0">
                                          <p:val>
                                            <p:strVal val="1+#ppt_w/2"/>
                                          </p:val>
                                        </p:tav>
                                        <p:tav tm="100000">
                                          <p:val>
                                            <p:strVal val="#ppt_x"/>
                                          </p:val>
                                        </p:tav>
                                      </p:tavLst>
                                    </p:anim>
                                    <p:anim calcmode="lin" valueType="num">
                                      <p:cBhvr additive="base">
                                        <p:cTn id="84" dur="500" fill="hold"/>
                                        <p:tgtEl>
                                          <p:spTgt spid="3"/>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4"/>
                                        </p:tgtEl>
                                        <p:attrNameLst>
                                          <p:attrName>style.visibility</p:attrName>
                                        </p:attrNameLst>
                                      </p:cBhvr>
                                      <p:to>
                                        <p:strVal val="visible"/>
                                      </p:to>
                                    </p:set>
                                    <p:anim calcmode="lin" valueType="num">
                                      <p:cBhvr additive="base">
                                        <p:cTn id="87" dur="500" fill="hold"/>
                                        <p:tgtEl>
                                          <p:spTgt spid="4"/>
                                        </p:tgtEl>
                                        <p:attrNameLst>
                                          <p:attrName>ppt_x</p:attrName>
                                        </p:attrNameLst>
                                      </p:cBhvr>
                                      <p:tavLst>
                                        <p:tav tm="0">
                                          <p:val>
                                            <p:strVal val="1+#ppt_w/2"/>
                                          </p:val>
                                        </p:tav>
                                        <p:tav tm="100000">
                                          <p:val>
                                            <p:strVal val="#ppt_x"/>
                                          </p:val>
                                        </p:tav>
                                      </p:tavLst>
                                    </p:anim>
                                    <p:anim calcmode="lin" valueType="num">
                                      <p:cBhvr additive="base">
                                        <p:cTn id="88" dur="500" fill="hold"/>
                                        <p:tgtEl>
                                          <p:spTgt spid="4"/>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5"/>
                                        </p:tgtEl>
                                        <p:attrNameLst>
                                          <p:attrName>style.visibility</p:attrName>
                                        </p:attrNameLst>
                                      </p:cBhvr>
                                      <p:to>
                                        <p:strVal val="visible"/>
                                      </p:to>
                                    </p:set>
                                    <p:anim calcmode="lin" valueType="num">
                                      <p:cBhvr additive="base">
                                        <p:cTn id="91" dur="500" fill="hold"/>
                                        <p:tgtEl>
                                          <p:spTgt spid="5"/>
                                        </p:tgtEl>
                                        <p:attrNameLst>
                                          <p:attrName>ppt_x</p:attrName>
                                        </p:attrNameLst>
                                      </p:cBhvr>
                                      <p:tavLst>
                                        <p:tav tm="0">
                                          <p:val>
                                            <p:strVal val="1+#ppt_w/2"/>
                                          </p:val>
                                        </p:tav>
                                        <p:tav tm="100000">
                                          <p:val>
                                            <p:strVal val="#ppt_x"/>
                                          </p:val>
                                        </p:tav>
                                      </p:tavLst>
                                    </p:anim>
                                    <p:anim calcmode="lin" valueType="num">
                                      <p:cBhvr additive="base">
                                        <p:cTn id="9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533399" y="1600200"/>
            <a:ext cx="10492564" cy="50045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r>
              <a:rPr lang="en-US" sz="1400" b="1" dirty="0">
                <a:latin typeface="Segoe UI Semibold" panose="020B0702040204020203" pitchFamily="34" charset="0"/>
                <a:cs typeface="Segoe UI Light" panose="020B0502040204020203" pitchFamily="34" charset="0"/>
              </a:rPr>
              <a:t>IoT Applications … to build a Proof of Concept… that scale to full production … </a:t>
            </a:r>
            <a:r>
              <a:rPr lang="en-US" sz="1400" b="1" dirty="0">
                <a:latin typeface="Segoe UI" panose="020B0502040204020203" pitchFamily="34" charset="0"/>
                <a:ea typeface="Segoe UI" panose="020B0502040204020203" pitchFamily="34" charset="0"/>
                <a:cs typeface="Segoe UI" panose="020B0502040204020203" pitchFamily="34" charset="0"/>
              </a:rPr>
              <a:t>on any asset </a:t>
            </a:r>
          </a:p>
          <a:p>
            <a:endParaRPr lang="en-US" sz="1400" dirty="0">
              <a:ea typeface="Segoe UI" panose="020B0502040204020203" pitchFamily="34" charset="0"/>
              <a:cs typeface="Segoe UI" panose="020B0502040204020203" pitchFamily="34" charset="0"/>
            </a:endParaRPr>
          </a:p>
          <a:p>
            <a:endParaRPr lang="en-US" sz="1400" b="1" dirty="0">
              <a:latin typeface="Segoe UI Semibold" panose="020B0702040204020203" pitchFamily="34" charset="0"/>
              <a:cs typeface="Segoe UI Light" panose="020B0502040204020203" pitchFamily="34" charset="0"/>
            </a:endParaRPr>
          </a:p>
        </p:txBody>
      </p:sp>
      <p:sp>
        <p:nvSpPr>
          <p:cNvPr id="107" name="Oval 211"/>
          <p:cNvSpPr>
            <a:spLocks noChangeAspect="1"/>
          </p:cNvSpPr>
          <p:nvPr/>
        </p:nvSpPr>
        <p:spPr bwMode="auto">
          <a:xfrm>
            <a:off x="5195755" y="3115521"/>
            <a:ext cx="3078891" cy="1948645"/>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solidFill>
                <a:schemeClr val="accent2"/>
              </a:solidFill>
              <a:latin typeface="Segoe UI" pitchFamily="34" charset="0"/>
              <a:ea typeface="Segoe UI" pitchFamily="34" charset="0"/>
              <a:cs typeface="Segoe UI" pitchFamily="34" charset="0"/>
            </a:endParaRPr>
          </a:p>
        </p:txBody>
      </p:sp>
      <p:grpSp>
        <p:nvGrpSpPr>
          <p:cNvPr id="110" name="Group 109"/>
          <p:cNvGrpSpPr/>
          <p:nvPr/>
        </p:nvGrpSpPr>
        <p:grpSpPr>
          <a:xfrm>
            <a:off x="3962464" y="3359402"/>
            <a:ext cx="5673567" cy="1528790"/>
            <a:chOff x="2520522" y="3153003"/>
            <a:chExt cx="5673567" cy="1528790"/>
          </a:xfrm>
          <a:solidFill>
            <a:schemeClr val="tx2">
              <a:lumMod val="50000"/>
              <a:lumOff val="50000"/>
            </a:schemeClr>
          </a:solidFill>
        </p:grpSpPr>
        <p:sp>
          <p:nvSpPr>
            <p:cNvPr id="111" name="Freeform 62"/>
            <p:cNvSpPr>
              <a:spLocks noChangeAspect="1" noEditPoints="1"/>
            </p:cNvSpPr>
            <p:nvPr/>
          </p:nvSpPr>
          <p:spPr bwMode="auto">
            <a:xfrm>
              <a:off x="4918443" y="3461386"/>
              <a:ext cx="944424" cy="95656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Oval 111"/>
            <p:cNvSpPr/>
            <p:nvPr/>
          </p:nvSpPr>
          <p:spPr bwMode="auto">
            <a:xfrm>
              <a:off x="2520522" y="3218292"/>
              <a:ext cx="468794" cy="4687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3" name="Oval 112"/>
            <p:cNvSpPr/>
            <p:nvPr/>
          </p:nvSpPr>
          <p:spPr bwMode="auto">
            <a:xfrm>
              <a:off x="2603091" y="3909887"/>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4" name="Oval 113"/>
            <p:cNvSpPr/>
            <p:nvPr/>
          </p:nvSpPr>
          <p:spPr bwMode="auto">
            <a:xfrm>
              <a:off x="3216476" y="3249824"/>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5" name="Oval 114"/>
            <p:cNvSpPr/>
            <p:nvPr/>
          </p:nvSpPr>
          <p:spPr bwMode="auto">
            <a:xfrm>
              <a:off x="4109901" y="3311679"/>
              <a:ext cx="351080" cy="3510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6" name="Oval 115"/>
            <p:cNvSpPr/>
            <p:nvPr/>
          </p:nvSpPr>
          <p:spPr bwMode="auto">
            <a:xfrm>
              <a:off x="3369964" y="4192488"/>
              <a:ext cx="489305" cy="48930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7" name="Oval 116"/>
            <p:cNvSpPr/>
            <p:nvPr/>
          </p:nvSpPr>
          <p:spPr bwMode="auto">
            <a:xfrm>
              <a:off x="4053125" y="4084060"/>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8" name="Oval 117"/>
            <p:cNvSpPr/>
            <p:nvPr/>
          </p:nvSpPr>
          <p:spPr bwMode="auto">
            <a:xfrm>
              <a:off x="4684892" y="3172942"/>
              <a:ext cx="289785" cy="27996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9" name="Oval 118"/>
            <p:cNvSpPr/>
            <p:nvPr/>
          </p:nvSpPr>
          <p:spPr bwMode="auto">
            <a:xfrm>
              <a:off x="4809116" y="4379129"/>
              <a:ext cx="289785" cy="27996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0" name="Oval 119"/>
            <p:cNvSpPr/>
            <p:nvPr/>
          </p:nvSpPr>
          <p:spPr bwMode="auto">
            <a:xfrm>
              <a:off x="5632520" y="3165270"/>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1" name="Oval 120"/>
            <p:cNvSpPr/>
            <p:nvPr/>
          </p:nvSpPr>
          <p:spPr bwMode="auto">
            <a:xfrm>
              <a:off x="6091445" y="4084060"/>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2" name="Oval 121"/>
            <p:cNvSpPr/>
            <p:nvPr/>
          </p:nvSpPr>
          <p:spPr bwMode="auto">
            <a:xfrm>
              <a:off x="6471916" y="4334863"/>
              <a:ext cx="355515" cy="34346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3" name="Oval 122"/>
            <p:cNvSpPr/>
            <p:nvPr/>
          </p:nvSpPr>
          <p:spPr bwMode="auto">
            <a:xfrm>
              <a:off x="6864207" y="4141917"/>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4" name="Oval 123"/>
            <p:cNvSpPr/>
            <p:nvPr/>
          </p:nvSpPr>
          <p:spPr bwMode="auto">
            <a:xfrm>
              <a:off x="7456685" y="3929575"/>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5" name="Oval 124"/>
            <p:cNvSpPr/>
            <p:nvPr/>
          </p:nvSpPr>
          <p:spPr bwMode="auto">
            <a:xfrm>
              <a:off x="7456685" y="3153003"/>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6" name="Oval 125"/>
            <p:cNvSpPr/>
            <p:nvPr/>
          </p:nvSpPr>
          <p:spPr bwMode="auto">
            <a:xfrm>
              <a:off x="6775471" y="3287986"/>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7" name="Oval 126"/>
            <p:cNvSpPr/>
            <p:nvPr/>
          </p:nvSpPr>
          <p:spPr bwMode="auto">
            <a:xfrm>
              <a:off x="6258478" y="3255953"/>
              <a:ext cx="464790" cy="4647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28" name="Group 127"/>
          <p:cNvGrpSpPr/>
          <p:nvPr/>
        </p:nvGrpSpPr>
        <p:grpSpPr>
          <a:xfrm>
            <a:off x="4361871" y="3429621"/>
            <a:ext cx="4679670" cy="1413064"/>
            <a:chOff x="2919929" y="3223222"/>
            <a:chExt cx="4679670" cy="1413064"/>
          </a:xfrm>
        </p:grpSpPr>
        <p:sp>
          <p:nvSpPr>
            <p:cNvPr id="129" name="Freeform 128"/>
            <p:cNvSpPr/>
            <p:nvPr/>
          </p:nvSpPr>
          <p:spPr bwMode="auto">
            <a:xfrm>
              <a:off x="2919929" y="3571746"/>
              <a:ext cx="2021996" cy="484723"/>
            </a:xfrm>
            <a:custGeom>
              <a:avLst/>
              <a:gdLst>
                <a:gd name="connsiteX0" fmla="*/ 0 w 6273209"/>
                <a:gd name="connsiteY0" fmla="*/ 0 h 1509823"/>
                <a:gd name="connsiteX1" fmla="*/ 1509823 w 6273209"/>
                <a:gd name="connsiteY1" fmla="*/ 1509823 h 1509823"/>
                <a:gd name="connsiteX2" fmla="*/ 2743200 w 6273209"/>
                <a:gd name="connsiteY2" fmla="*/ 1509823 h 1509823"/>
                <a:gd name="connsiteX3" fmla="*/ 3402419 w 6273209"/>
                <a:gd name="connsiteY3" fmla="*/ 850604 h 1509823"/>
                <a:gd name="connsiteX4" fmla="*/ 6273209 w 6273209"/>
                <a:gd name="connsiteY4" fmla="*/ 850604 h 1509823"/>
                <a:gd name="connsiteX0" fmla="*/ 0 w 6273209"/>
                <a:gd name="connsiteY0" fmla="*/ 0 h 1524238"/>
                <a:gd name="connsiteX1" fmla="*/ 1509823 w 6273209"/>
                <a:gd name="connsiteY1" fmla="*/ 1509823 h 1524238"/>
                <a:gd name="connsiteX2" fmla="*/ 2629442 w 6273209"/>
                <a:gd name="connsiteY2" fmla="*/ 1524238 h 1524238"/>
                <a:gd name="connsiteX3" fmla="*/ 3402419 w 6273209"/>
                <a:gd name="connsiteY3" fmla="*/ 850604 h 1524238"/>
                <a:gd name="connsiteX4" fmla="*/ 6273209 w 6273209"/>
                <a:gd name="connsiteY4" fmla="*/ 850604 h 1524238"/>
                <a:gd name="connsiteX0" fmla="*/ 0 w 6273209"/>
                <a:gd name="connsiteY0" fmla="*/ 0 h 1524238"/>
                <a:gd name="connsiteX1" fmla="*/ 1509823 w 6273209"/>
                <a:gd name="connsiteY1" fmla="*/ 1509823 h 1524238"/>
                <a:gd name="connsiteX2" fmla="*/ 2629442 w 6273209"/>
                <a:gd name="connsiteY2" fmla="*/ 1524238 h 1524238"/>
                <a:gd name="connsiteX3" fmla="*/ 3388200 w 6273209"/>
                <a:gd name="connsiteY3" fmla="*/ 792953 h 1524238"/>
                <a:gd name="connsiteX4" fmla="*/ 6273209 w 6273209"/>
                <a:gd name="connsiteY4" fmla="*/ 850604 h 1524238"/>
                <a:gd name="connsiteX0" fmla="*/ 0 w 6273209"/>
                <a:gd name="connsiteY0" fmla="*/ 0 h 1524238"/>
                <a:gd name="connsiteX1" fmla="*/ 1509823 w 6273209"/>
                <a:gd name="connsiteY1" fmla="*/ 1509823 h 1524238"/>
                <a:gd name="connsiteX2" fmla="*/ 2629442 w 6273209"/>
                <a:gd name="connsiteY2" fmla="*/ 1524238 h 1524238"/>
                <a:gd name="connsiteX3" fmla="*/ 3388200 w 6273209"/>
                <a:gd name="connsiteY3" fmla="*/ 792953 h 1524238"/>
                <a:gd name="connsiteX4" fmla="*/ 6273209 w 6273209"/>
                <a:gd name="connsiteY4" fmla="*/ 792953 h 1524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3209" h="1524238">
                  <a:moveTo>
                    <a:pt x="0" y="0"/>
                  </a:moveTo>
                  <a:lnTo>
                    <a:pt x="1509823" y="1509823"/>
                  </a:lnTo>
                  <a:lnTo>
                    <a:pt x="2629442" y="1524238"/>
                  </a:lnTo>
                  <a:lnTo>
                    <a:pt x="3388200" y="792953"/>
                  </a:lnTo>
                  <a:lnTo>
                    <a:pt x="6273209" y="792953"/>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0" name="Freeform 129"/>
            <p:cNvSpPr/>
            <p:nvPr/>
          </p:nvSpPr>
          <p:spPr bwMode="auto">
            <a:xfrm>
              <a:off x="3156618" y="3919459"/>
              <a:ext cx="1744732" cy="250213"/>
            </a:xfrm>
            <a:custGeom>
              <a:avLst/>
              <a:gdLst>
                <a:gd name="connsiteX0" fmla="*/ 0 w 5486400"/>
                <a:gd name="connsiteY0" fmla="*/ 786809 h 786809"/>
                <a:gd name="connsiteX1" fmla="*/ 1977656 w 5486400"/>
                <a:gd name="connsiteY1" fmla="*/ 786809 h 786809"/>
                <a:gd name="connsiteX2" fmla="*/ 2764465 w 5486400"/>
                <a:gd name="connsiteY2" fmla="*/ 0 h 786809"/>
                <a:gd name="connsiteX3" fmla="*/ 5486400 w 5486400"/>
                <a:gd name="connsiteY3" fmla="*/ 0 h 786809"/>
              </a:gdLst>
              <a:ahLst/>
              <a:cxnLst>
                <a:cxn ang="0">
                  <a:pos x="connsiteX0" y="connsiteY0"/>
                </a:cxn>
                <a:cxn ang="0">
                  <a:pos x="connsiteX1" y="connsiteY1"/>
                </a:cxn>
                <a:cxn ang="0">
                  <a:pos x="connsiteX2" y="connsiteY2"/>
                </a:cxn>
                <a:cxn ang="0">
                  <a:pos x="connsiteX3" y="connsiteY3"/>
                </a:cxn>
              </a:cxnLst>
              <a:rect l="l" t="t" r="r" b="b"/>
              <a:pathLst>
                <a:path w="5486400" h="786809">
                  <a:moveTo>
                    <a:pt x="0" y="786809"/>
                  </a:moveTo>
                  <a:lnTo>
                    <a:pt x="1977656" y="786809"/>
                  </a:lnTo>
                  <a:lnTo>
                    <a:pt x="2764465" y="0"/>
                  </a:lnTo>
                  <a:lnTo>
                    <a:pt x="5486400" y="0"/>
                  </a:lnTo>
                </a:path>
              </a:pathLst>
            </a:cu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1" name="Freeform 130"/>
            <p:cNvSpPr/>
            <p:nvPr/>
          </p:nvSpPr>
          <p:spPr bwMode="auto">
            <a:xfrm>
              <a:off x="3131069" y="3912696"/>
              <a:ext cx="1810855" cy="243451"/>
            </a:xfrm>
            <a:custGeom>
              <a:avLst/>
              <a:gdLst>
                <a:gd name="connsiteX0" fmla="*/ 0 w 5422605"/>
                <a:gd name="connsiteY0" fmla="*/ 765544 h 765544"/>
                <a:gd name="connsiteX1" fmla="*/ 1913861 w 5422605"/>
                <a:gd name="connsiteY1" fmla="*/ 765544 h 765544"/>
                <a:gd name="connsiteX2" fmla="*/ 2743200 w 5422605"/>
                <a:gd name="connsiteY2" fmla="*/ 0 h 765544"/>
                <a:gd name="connsiteX3" fmla="*/ 5422605 w 5422605"/>
                <a:gd name="connsiteY3" fmla="*/ 0 h 765544"/>
                <a:gd name="connsiteX0" fmla="*/ 0 w 5563422"/>
                <a:gd name="connsiteY0" fmla="*/ 765544 h 765544"/>
                <a:gd name="connsiteX1" fmla="*/ 2054678 w 5563422"/>
                <a:gd name="connsiteY1" fmla="*/ 765544 h 765544"/>
                <a:gd name="connsiteX2" fmla="*/ 2884017 w 5563422"/>
                <a:gd name="connsiteY2" fmla="*/ 0 h 765544"/>
                <a:gd name="connsiteX3" fmla="*/ 5563422 w 5563422"/>
                <a:gd name="connsiteY3" fmla="*/ 0 h 765544"/>
              </a:gdLst>
              <a:ahLst/>
              <a:cxnLst>
                <a:cxn ang="0">
                  <a:pos x="connsiteX0" y="connsiteY0"/>
                </a:cxn>
                <a:cxn ang="0">
                  <a:pos x="connsiteX1" y="connsiteY1"/>
                </a:cxn>
                <a:cxn ang="0">
                  <a:pos x="connsiteX2" y="connsiteY2"/>
                </a:cxn>
                <a:cxn ang="0">
                  <a:pos x="connsiteX3" y="connsiteY3"/>
                </a:cxn>
              </a:cxnLst>
              <a:rect l="l" t="t" r="r" b="b"/>
              <a:pathLst>
                <a:path w="5563422" h="765544">
                  <a:moveTo>
                    <a:pt x="0" y="765544"/>
                  </a:moveTo>
                  <a:lnTo>
                    <a:pt x="2054678" y="765544"/>
                  </a:lnTo>
                  <a:lnTo>
                    <a:pt x="2884017" y="0"/>
                  </a:lnTo>
                  <a:lnTo>
                    <a:pt x="5563422"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2" name="Freeform 131"/>
            <p:cNvSpPr/>
            <p:nvPr/>
          </p:nvSpPr>
          <p:spPr bwMode="auto">
            <a:xfrm>
              <a:off x="3826107" y="4020897"/>
              <a:ext cx="1115818" cy="304314"/>
            </a:xfrm>
            <a:custGeom>
              <a:avLst/>
              <a:gdLst>
                <a:gd name="connsiteX0" fmla="*/ 0 w 3381154"/>
                <a:gd name="connsiteY0" fmla="*/ 956930 h 956930"/>
                <a:gd name="connsiteX1" fmla="*/ 956931 w 3381154"/>
                <a:gd name="connsiteY1" fmla="*/ 0 h 956930"/>
                <a:gd name="connsiteX2" fmla="*/ 3381154 w 3381154"/>
                <a:gd name="connsiteY2" fmla="*/ 0 h 956930"/>
              </a:gdLst>
              <a:ahLst/>
              <a:cxnLst>
                <a:cxn ang="0">
                  <a:pos x="connsiteX0" y="connsiteY0"/>
                </a:cxn>
                <a:cxn ang="0">
                  <a:pos x="connsiteX1" y="connsiteY1"/>
                </a:cxn>
                <a:cxn ang="0">
                  <a:pos x="connsiteX2" y="connsiteY2"/>
                </a:cxn>
              </a:cxnLst>
              <a:rect l="l" t="t" r="r" b="b"/>
              <a:pathLst>
                <a:path w="3381154" h="956930">
                  <a:moveTo>
                    <a:pt x="0" y="956930"/>
                  </a:moveTo>
                  <a:lnTo>
                    <a:pt x="956931" y="0"/>
                  </a:lnTo>
                  <a:lnTo>
                    <a:pt x="3381154"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3" name="Freeform 132"/>
            <p:cNvSpPr/>
            <p:nvPr/>
          </p:nvSpPr>
          <p:spPr bwMode="auto">
            <a:xfrm>
              <a:off x="4612852" y="4130562"/>
              <a:ext cx="372531" cy="235224"/>
            </a:xfrm>
            <a:custGeom>
              <a:avLst/>
              <a:gdLst>
                <a:gd name="connsiteX0" fmla="*/ 0 w 956930"/>
                <a:gd name="connsiteY0" fmla="*/ 680484 h 680484"/>
                <a:gd name="connsiteX1" fmla="*/ 297711 w 956930"/>
                <a:gd name="connsiteY1" fmla="*/ 680484 h 680484"/>
                <a:gd name="connsiteX2" fmla="*/ 956930 w 956930"/>
                <a:gd name="connsiteY2" fmla="*/ 0 h 680484"/>
              </a:gdLst>
              <a:ahLst/>
              <a:cxnLst>
                <a:cxn ang="0">
                  <a:pos x="connsiteX0" y="connsiteY0"/>
                </a:cxn>
                <a:cxn ang="0">
                  <a:pos x="connsiteX1" y="connsiteY1"/>
                </a:cxn>
                <a:cxn ang="0">
                  <a:pos x="connsiteX2" y="connsiteY2"/>
                </a:cxn>
              </a:cxnLst>
              <a:rect l="l" t="t" r="r" b="b"/>
              <a:pathLst>
                <a:path w="956930" h="680484">
                  <a:moveTo>
                    <a:pt x="0" y="680484"/>
                  </a:moveTo>
                  <a:lnTo>
                    <a:pt x="297711" y="680484"/>
                  </a:lnTo>
                  <a:lnTo>
                    <a:pt x="956930"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4" name="Freeform 133"/>
            <p:cNvSpPr/>
            <p:nvPr/>
          </p:nvSpPr>
          <p:spPr bwMode="auto">
            <a:xfrm>
              <a:off x="4441499" y="3486657"/>
              <a:ext cx="541678" cy="309572"/>
            </a:xfrm>
            <a:custGeom>
              <a:avLst/>
              <a:gdLst>
                <a:gd name="connsiteX0" fmla="*/ 0 w 1573619"/>
                <a:gd name="connsiteY0" fmla="*/ 0 h 829339"/>
                <a:gd name="connsiteX1" fmla="*/ 744279 w 1573619"/>
                <a:gd name="connsiteY1" fmla="*/ 0 h 829339"/>
                <a:gd name="connsiteX2" fmla="*/ 1573619 w 1573619"/>
                <a:gd name="connsiteY2" fmla="*/ 829339 h 829339"/>
                <a:gd name="connsiteX0" fmla="*/ 0 w 1703335"/>
                <a:gd name="connsiteY0" fmla="*/ 0 h 973467"/>
                <a:gd name="connsiteX1" fmla="*/ 744279 w 1703335"/>
                <a:gd name="connsiteY1" fmla="*/ 0 h 973467"/>
                <a:gd name="connsiteX2" fmla="*/ 1703335 w 1703335"/>
                <a:gd name="connsiteY2" fmla="*/ 973467 h 973467"/>
              </a:gdLst>
              <a:ahLst/>
              <a:cxnLst>
                <a:cxn ang="0">
                  <a:pos x="connsiteX0" y="connsiteY0"/>
                </a:cxn>
                <a:cxn ang="0">
                  <a:pos x="connsiteX1" y="connsiteY1"/>
                </a:cxn>
                <a:cxn ang="0">
                  <a:pos x="connsiteX2" y="connsiteY2"/>
                </a:cxn>
              </a:cxnLst>
              <a:rect l="l" t="t" r="r" b="b"/>
              <a:pathLst>
                <a:path w="1703335" h="973467">
                  <a:moveTo>
                    <a:pt x="0" y="0"/>
                  </a:moveTo>
                  <a:lnTo>
                    <a:pt x="744279" y="0"/>
                  </a:lnTo>
                  <a:cubicBezTo>
                    <a:pt x="1020726" y="276446"/>
                    <a:pt x="1426888" y="697021"/>
                    <a:pt x="1703335" y="973467"/>
                  </a:cubicBez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5" name="Freeform 134"/>
            <p:cNvSpPr/>
            <p:nvPr/>
          </p:nvSpPr>
          <p:spPr bwMode="auto">
            <a:xfrm>
              <a:off x="4914875" y="3358217"/>
              <a:ext cx="184025" cy="218219"/>
            </a:xfrm>
            <a:custGeom>
              <a:avLst/>
              <a:gdLst>
                <a:gd name="connsiteX0" fmla="*/ 0 w 382772"/>
                <a:gd name="connsiteY0" fmla="*/ 0 h 382772"/>
                <a:gd name="connsiteX1" fmla="*/ 382772 w 382772"/>
                <a:gd name="connsiteY1" fmla="*/ 382772 h 382772"/>
              </a:gdLst>
              <a:ahLst/>
              <a:cxnLst>
                <a:cxn ang="0">
                  <a:pos x="connsiteX0" y="connsiteY0"/>
                </a:cxn>
                <a:cxn ang="0">
                  <a:pos x="connsiteX1" y="connsiteY1"/>
                </a:cxn>
              </a:cxnLst>
              <a:rect l="l" t="t" r="r" b="b"/>
              <a:pathLst>
                <a:path w="382772" h="382772">
                  <a:moveTo>
                    <a:pt x="0" y="0"/>
                  </a:moveTo>
                  <a:lnTo>
                    <a:pt x="382772" y="382772"/>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36" name="Straight Connector 135"/>
            <p:cNvCxnSpPr/>
            <p:nvPr/>
          </p:nvCxnSpPr>
          <p:spPr>
            <a:xfrm flipV="1">
              <a:off x="5018884" y="4325210"/>
              <a:ext cx="119263" cy="130981"/>
            </a:xfrm>
            <a:prstGeom prst="line">
              <a:avLst/>
            </a:pr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7" name="Straight Connector 136"/>
            <p:cNvCxnSpPr/>
            <p:nvPr/>
          </p:nvCxnSpPr>
          <p:spPr>
            <a:xfrm flipV="1">
              <a:off x="5665516" y="3452909"/>
              <a:ext cx="91073" cy="98255"/>
            </a:xfrm>
            <a:prstGeom prst="line">
              <a:avLst/>
            </a:pr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8" name="Freeform 137"/>
            <p:cNvSpPr/>
            <p:nvPr/>
          </p:nvSpPr>
          <p:spPr bwMode="auto">
            <a:xfrm>
              <a:off x="5791500" y="3223222"/>
              <a:ext cx="1808099" cy="500427"/>
            </a:xfrm>
            <a:custGeom>
              <a:avLst/>
              <a:gdLst>
                <a:gd name="connsiteX0" fmla="*/ 0 w 5103628"/>
                <a:gd name="connsiteY0" fmla="*/ 1573619 h 1573619"/>
                <a:gd name="connsiteX1" fmla="*/ 1573619 w 5103628"/>
                <a:gd name="connsiteY1" fmla="*/ 0 h 1573619"/>
                <a:gd name="connsiteX2" fmla="*/ 4933507 w 5103628"/>
                <a:gd name="connsiteY2" fmla="*/ 0 h 1573619"/>
                <a:gd name="connsiteX3" fmla="*/ 5103628 w 5103628"/>
                <a:gd name="connsiteY3" fmla="*/ 170121 h 1573619"/>
              </a:gdLst>
              <a:ahLst/>
              <a:cxnLst>
                <a:cxn ang="0">
                  <a:pos x="connsiteX0" y="connsiteY0"/>
                </a:cxn>
                <a:cxn ang="0">
                  <a:pos x="connsiteX1" y="connsiteY1"/>
                </a:cxn>
                <a:cxn ang="0">
                  <a:pos x="connsiteX2" y="connsiteY2"/>
                </a:cxn>
                <a:cxn ang="0">
                  <a:pos x="connsiteX3" y="connsiteY3"/>
                </a:cxn>
              </a:cxnLst>
              <a:rect l="l" t="t" r="r" b="b"/>
              <a:pathLst>
                <a:path w="5103628" h="1573619">
                  <a:moveTo>
                    <a:pt x="0" y="1573619"/>
                  </a:moveTo>
                  <a:lnTo>
                    <a:pt x="1573619" y="0"/>
                  </a:lnTo>
                  <a:lnTo>
                    <a:pt x="4933507" y="0"/>
                  </a:lnTo>
                  <a:lnTo>
                    <a:pt x="5103628" y="170121"/>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9" name="Freeform 138"/>
            <p:cNvSpPr/>
            <p:nvPr/>
          </p:nvSpPr>
          <p:spPr bwMode="auto">
            <a:xfrm>
              <a:off x="5819043" y="3561044"/>
              <a:ext cx="590351" cy="202876"/>
            </a:xfrm>
            <a:custGeom>
              <a:avLst/>
              <a:gdLst>
                <a:gd name="connsiteX0" fmla="*/ 0 w 1828800"/>
                <a:gd name="connsiteY0" fmla="*/ 637954 h 637954"/>
                <a:gd name="connsiteX1" fmla="*/ 1190846 w 1828800"/>
                <a:gd name="connsiteY1" fmla="*/ 637954 h 637954"/>
                <a:gd name="connsiteX2" fmla="*/ 1828800 w 1828800"/>
                <a:gd name="connsiteY2" fmla="*/ 0 h 637954"/>
              </a:gdLst>
              <a:ahLst/>
              <a:cxnLst>
                <a:cxn ang="0">
                  <a:pos x="connsiteX0" y="connsiteY0"/>
                </a:cxn>
                <a:cxn ang="0">
                  <a:pos x="connsiteX1" y="connsiteY1"/>
                </a:cxn>
                <a:cxn ang="0">
                  <a:pos x="connsiteX2" y="connsiteY2"/>
                </a:cxn>
              </a:cxnLst>
              <a:rect l="l" t="t" r="r" b="b"/>
              <a:pathLst>
                <a:path w="1828800" h="637954">
                  <a:moveTo>
                    <a:pt x="0" y="637954"/>
                  </a:moveTo>
                  <a:lnTo>
                    <a:pt x="1190846" y="637954"/>
                  </a:lnTo>
                  <a:lnTo>
                    <a:pt x="1828800"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0" name="Freeform 139"/>
            <p:cNvSpPr/>
            <p:nvPr/>
          </p:nvSpPr>
          <p:spPr bwMode="auto">
            <a:xfrm>
              <a:off x="5868392" y="3770683"/>
              <a:ext cx="1054954" cy="142013"/>
            </a:xfrm>
            <a:custGeom>
              <a:avLst/>
              <a:gdLst>
                <a:gd name="connsiteX0" fmla="*/ 0 w 3317358"/>
                <a:gd name="connsiteY0" fmla="*/ 446567 h 446567"/>
                <a:gd name="connsiteX1" fmla="*/ 2700669 w 3317358"/>
                <a:gd name="connsiteY1" fmla="*/ 446567 h 446567"/>
                <a:gd name="connsiteX2" fmla="*/ 3317358 w 3317358"/>
                <a:gd name="connsiteY2" fmla="*/ 0 h 446567"/>
              </a:gdLst>
              <a:ahLst/>
              <a:cxnLst>
                <a:cxn ang="0">
                  <a:pos x="connsiteX0" y="connsiteY0"/>
                </a:cxn>
                <a:cxn ang="0">
                  <a:pos x="connsiteX1" y="connsiteY1"/>
                </a:cxn>
                <a:cxn ang="0">
                  <a:pos x="connsiteX2" y="connsiteY2"/>
                </a:cxn>
              </a:cxnLst>
              <a:rect l="l" t="t" r="r" b="b"/>
              <a:pathLst>
                <a:path w="3317358" h="446567">
                  <a:moveTo>
                    <a:pt x="0" y="446567"/>
                  </a:moveTo>
                  <a:lnTo>
                    <a:pt x="2700669" y="446567"/>
                  </a:lnTo>
                  <a:lnTo>
                    <a:pt x="3317358"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1" name="Freeform 140"/>
            <p:cNvSpPr/>
            <p:nvPr/>
          </p:nvSpPr>
          <p:spPr bwMode="auto">
            <a:xfrm>
              <a:off x="5862867" y="3993846"/>
              <a:ext cx="1736732" cy="54100"/>
            </a:xfrm>
            <a:custGeom>
              <a:avLst/>
              <a:gdLst>
                <a:gd name="connsiteX0" fmla="*/ 0 w 5380074"/>
                <a:gd name="connsiteY0" fmla="*/ 0 h 170121"/>
                <a:gd name="connsiteX1" fmla="*/ 5061098 w 5380074"/>
                <a:gd name="connsiteY1" fmla="*/ 0 h 170121"/>
                <a:gd name="connsiteX2" fmla="*/ 5380074 w 5380074"/>
                <a:gd name="connsiteY2" fmla="*/ 170121 h 170121"/>
              </a:gdLst>
              <a:ahLst/>
              <a:cxnLst>
                <a:cxn ang="0">
                  <a:pos x="connsiteX0" y="connsiteY0"/>
                </a:cxn>
                <a:cxn ang="0">
                  <a:pos x="connsiteX1" y="connsiteY1"/>
                </a:cxn>
                <a:cxn ang="0">
                  <a:pos x="connsiteX2" y="connsiteY2"/>
                </a:cxn>
              </a:cxnLst>
              <a:rect l="l" t="t" r="r" b="b"/>
              <a:pathLst>
                <a:path w="5380074" h="170121">
                  <a:moveTo>
                    <a:pt x="0" y="0"/>
                  </a:moveTo>
                  <a:lnTo>
                    <a:pt x="5061098" y="0"/>
                  </a:lnTo>
                  <a:lnTo>
                    <a:pt x="5380074" y="170121"/>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2" name="Freeform 141"/>
            <p:cNvSpPr/>
            <p:nvPr/>
          </p:nvSpPr>
          <p:spPr bwMode="auto">
            <a:xfrm>
              <a:off x="5819044" y="4074997"/>
              <a:ext cx="1165166" cy="148775"/>
            </a:xfrm>
            <a:custGeom>
              <a:avLst/>
              <a:gdLst>
                <a:gd name="connsiteX0" fmla="*/ 0 w 3487479"/>
                <a:gd name="connsiteY0" fmla="*/ 0 h 467832"/>
                <a:gd name="connsiteX1" fmla="*/ 2828260 w 3487479"/>
                <a:gd name="connsiteY1" fmla="*/ 0 h 467832"/>
                <a:gd name="connsiteX2" fmla="*/ 3487479 w 3487479"/>
                <a:gd name="connsiteY2" fmla="*/ 467832 h 467832"/>
              </a:gdLst>
              <a:ahLst/>
              <a:cxnLst>
                <a:cxn ang="0">
                  <a:pos x="connsiteX0" y="connsiteY0"/>
                </a:cxn>
                <a:cxn ang="0">
                  <a:pos x="connsiteX1" y="connsiteY1"/>
                </a:cxn>
                <a:cxn ang="0">
                  <a:pos x="connsiteX2" y="connsiteY2"/>
                </a:cxn>
              </a:cxnLst>
              <a:rect l="l" t="t" r="r" b="b"/>
              <a:pathLst>
                <a:path w="3487479" h="467832">
                  <a:moveTo>
                    <a:pt x="0" y="0"/>
                  </a:moveTo>
                  <a:lnTo>
                    <a:pt x="2828260" y="0"/>
                  </a:lnTo>
                  <a:lnTo>
                    <a:pt x="3487479" y="467832"/>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3" name="Freeform 142"/>
            <p:cNvSpPr/>
            <p:nvPr/>
          </p:nvSpPr>
          <p:spPr bwMode="auto">
            <a:xfrm>
              <a:off x="5435590" y="4406361"/>
              <a:ext cx="723591" cy="128488"/>
            </a:xfrm>
            <a:custGeom>
              <a:avLst/>
              <a:gdLst>
                <a:gd name="connsiteX0" fmla="*/ 0 w 2275368"/>
                <a:gd name="connsiteY0" fmla="*/ 0 h 404037"/>
                <a:gd name="connsiteX1" fmla="*/ 446568 w 2275368"/>
                <a:gd name="connsiteY1" fmla="*/ 404037 h 404037"/>
                <a:gd name="connsiteX2" fmla="*/ 1935126 w 2275368"/>
                <a:gd name="connsiteY2" fmla="*/ 404037 h 404037"/>
                <a:gd name="connsiteX3" fmla="*/ 2275368 w 2275368"/>
                <a:gd name="connsiteY3" fmla="*/ 21265 h 404037"/>
              </a:gdLst>
              <a:ahLst/>
              <a:cxnLst>
                <a:cxn ang="0">
                  <a:pos x="connsiteX0" y="connsiteY0"/>
                </a:cxn>
                <a:cxn ang="0">
                  <a:pos x="connsiteX1" y="connsiteY1"/>
                </a:cxn>
                <a:cxn ang="0">
                  <a:pos x="connsiteX2" y="connsiteY2"/>
                </a:cxn>
                <a:cxn ang="0">
                  <a:pos x="connsiteX3" y="connsiteY3"/>
                </a:cxn>
              </a:cxnLst>
              <a:rect l="l" t="t" r="r" b="b"/>
              <a:pathLst>
                <a:path w="2275368" h="404037">
                  <a:moveTo>
                    <a:pt x="0" y="0"/>
                  </a:moveTo>
                  <a:lnTo>
                    <a:pt x="446568" y="404037"/>
                  </a:lnTo>
                  <a:lnTo>
                    <a:pt x="1935126" y="404037"/>
                  </a:lnTo>
                  <a:lnTo>
                    <a:pt x="2275368" y="21265"/>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4" name="Freeform 143"/>
            <p:cNvSpPr/>
            <p:nvPr/>
          </p:nvSpPr>
          <p:spPr bwMode="auto">
            <a:xfrm>
              <a:off x="5367965" y="4413123"/>
              <a:ext cx="1176680" cy="223163"/>
            </a:xfrm>
            <a:custGeom>
              <a:avLst/>
              <a:gdLst>
                <a:gd name="connsiteX0" fmla="*/ 0 w 3700130"/>
                <a:gd name="connsiteY0" fmla="*/ 0 h 701748"/>
                <a:gd name="connsiteX1" fmla="*/ 0 w 3700130"/>
                <a:gd name="connsiteY1" fmla="*/ 701748 h 701748"/>
                <a:gd name="connsiteX2" fmla="*/ 3551274 w 3700130"/>
                <a:gd name="connsiteY2" fmla="*/ 701748 h 701748"/>
                <a:gd name="connsiteX3" fmla="*/ 3700130 w 3700130"/>
                <a:gd name="connsiteY3" fmla="*/ 574158 h 701748"/>
              </a:gdLst>
              <a:ahLst/>
              <a:cxnLst>
                <a:cxn ang="0">
                  <a:pos x="connsiteX0" y="connsiteY0"/>
                </a:cxn>
                <a:cxn ang="0">
                  <a:pos x="connsiteX1" y="connsiteY1"/>
                </a:cxn>
                <a:cxn ang="0">
                  <a:pos x="connsiteX2" y="connsiteY2"/>
                </a:cxn>
                <a:cxn ang="0">
                  <a:pos x="connsiteX3" y="connsiteY3"/>
                </a:cxn>
              </a:cxnLst>
              <a:rect l="l" t="t" r="r" b="b"/>
              <a:pathLst>
                <a:path w="3700130" h="701748">
                  <a:moveTo>
                    <a:pt x="0" y="0"/>
                  </a:moveTo>
                  <a:lnTo>
                    <a:pt x="0" y="701748"/>
                  </a:lnTo>
                  <a:lnTo>
                    <a:pt x="3551274" y="701748"/>
                  </a:lnTo>
                  <a:lnTo>
                    <a:pt x="3700130" y="574158"/>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grpSp>
        <p:nvGrpSpPr>
          <p:cNvPr id="145" name="Group 144"/>
          <p:cNvGrpSpPr/>
          <p:nvPr/>
        </p:nvGrpSpPr>
        <p:grpSpPr>
          <a:xfrm>
            <a:off x="4058454" y="3441869"/>
            <a:ext cx="5421568" cy="1358892"/>
            <a:chOff x="2616512" y="3235470"/>
            <a:chExt cx="5421568" cy="1358892"/>
          </a:xfrm>
          <a:solidFill>
            <a:schemeClr val="bg1"/>
          </a:solidFill>
        </p:grpSpPr>
        <p:sp>
          <p:nvSpPr>
            <p:cNvPr id="146" name="Freeform 145"/>
            <p:cNvSpPr>
              <a:spLocks noChangeAspect="1" noEditPoints="1"/>
            </p:cNvSpPr>
            <p:nvPr/>
          </p:nvSpPr>
          <p:spPr bwMode="auto">
            <a:xfrm>
              <a:off x="5734989" y="3236376"/>
              <a:ext cx="194488" cy="243681"/>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accent2"/>
                </a:solidFill>
              </a:endParaRPr>
            </a:p>
          </p:txBody>
        </p:sp>
        <p:sp>
          <p:nvSpPr>
            <p:cNvPr id="147" name="Rectangle 105"/>
            <p:cNvSpPr>
              <a:spLocks noChangeAspect="1"/>
            </p:cNvSpPr>
            <p:nvPr/>
          </p:nvSpPr>
          <p:spPr bwMode="auto">
            <a:xfrm>
              <a:off x="6360624" y="3351594"/>
              <a:ext cx="314792" cy="243681"/>
            </a:xfrm>
            <a:custGeom>
              <a:avLst/>
              <a:gdLst/>
              <a:ahLst/>
              <a:cxnLst/>
              <a:rect l="l" t="t" r="r" b="b"/>
              <a:pathLst>
                <a:path w="4577581" h="3544438">
                  <a:moveTo>
                    <a:pt x="147597" y="2112675"/>
                  </a:moveTo>
                  <a:lnTo>
                    <a:pt x="147597" y="3391715"/>
                  </a:lnTo>
                  <a:lnTo>
                    <a:pt x="1452503" y="3391715"/>
                  </a:lnTo>
                  <a:lnTo>
                    <a:pt x="1452503" y="2112675"/>
                  </a:lnTo>
                  <a:close/>
                  <a:moveTo>
                    <a:pt x="2285892" y="1979339"/>
                  </a:moveTo>
                  <a:cubicBezTo>
                    <a:pt x="2285575" y="2296779"/>
                    <a:pt x="2285005" y="2615641"/>
                    <a:pt x="2283511" y="2941940"/>
                  </a:cubicBezTo>
                  <a:lnTo>
                    <a:pt x="2621785" y="2941940"/>
                  </a:lnTo>
                  <a:lnTo>
                    <a:pt x="2621785" y="1979339"/>
                  </a:lnTo>
                  <a:close/>
                  <a:moveTo>
                    <a:pt x="3191380" y="1953653"/>
                  </a:moveTo>
                  <a:cubicBezTo>
                    <a:pt x="3191135" y="2205346"/>
                    <a:pt x="3190634" y="2458747"/>
                    <a:pt x="3189242" y="2719130"/>
                  </a:cubicBezTo>
                  <a:lnTo>
                    <a:pt x="3358797" y="2719130"/>
                  </a:lnTo>
                  <a:lnTo>
                    <a:pt x="3358797" y="1953653"/>
                  </a:lnTo>
                  <a:close/>
                  <a:moveTo>
                    <a:pt x="3764347" y="1867915"/>
                  </a:moveTo>
                  <a:cubicBezTo>
                    <a:pt x="3764188" y="2062191"/>
                    <a:pt x="3763908" y="2257318"/>
                    <a:pt x="3763023" y="2457145"/>
                  </a:cubicBezTo>
                  <a:lnTo>
                    <a:pt x="3970564" y="2457145"/>
                  </a:lnTo>
                  <a:lnTo>
                    <a:pt x="3970564" y="1867915"/>
                  </a:lnTo>
                  <a:close/>
                  <a:moveTo>
                    <a:pt x="147597" y="1784055"/>
                  </a:moveTo>
                  <a:lnTo>
                    <a:pt x="147597" y="2025570"/>
                  </a:lnTo>
                  <a:lnTo>
                    <a:pt x="1452503" y="2025570"/>
                  </a:lnTo>
                  <a:lnTo>
                    <a:pt x="1452503" y="1784055"/>
                  </a:lnTo>
                  <a:close/>
                  <a:moveTo>
                    <a:pt x="4228653" y="1778151"/>
                  </a:moveTo>
                  <a:cubicBezTo>
                    <a:pt x="4228556" y="1922149"/>
                    <a:pt x="4228402" y="2066609"/>
                    <a:pt x="4227899" y="2214181"/>
                  </a:cubicBezTo>
                  <a:lnTo>
                    <a:pt x="4361222" y="2214181"/>
                  </a:lnTo>
                  <a:lnTo>
                    <a:pt x="4361222" y="1778151"/>
                  </a:lnTo>
                  <a:close/>
                  <a:moveTo>
                    <a:pt x="3191663" y="1756981"/>
                  </a:moveTo>
                  <a:lnTo>
                    <a:pt x="3191455" y="1901522"/>
                  </a:lnTo>
                  <a:lnTo>
                    <a:pt x="3358797" y="1901522"/>
                  </a:lnTo>
                  <a:lnTo>
                    <a:pt x="3358797" y="1756981"/>
                  </a:lnTo>
                  <a:close/>
                  <a:moveTo>
                    <a:pt x="2286284" y="1732021"/>
                  </a:moveTo>
                  <a:cubicBezTo>
                    <a:pt x="2286204" y="1792600"/>
                    <a:pt x="2286135" y="1853174"/>
                    <a:pt x="2285996" y="1913784"/>
                  </a:cubicBezTo>
                  <a:lnTo>
                    <a:pt x="2621785" y="1913784"/>
                  </a:lnTo>
                  <a:lnTo>
                    <a:pt x="2621785" y="1732021"/>
                  </a:lnTo>
                  <a:close/>
                  <a:moveTo>
                    <a:pt x="3764542" y="1716526"/>
                  </a:moveTo>
                  <a:cubicBezTo>
                    <a:pt x="3764499" y="1753609"/>
                    <a:pt x="3764465" y="1790688"/>
                    <a:pt x="3764399" y="1827787"/>
                  </a:cubicBezTo>
                  <a:lnTo>
                    <a:pt x="3970564" y="1827787"/>
                  </a:lnTo>
                  <a:lnTo>
                    <a:pt x="3970564" y="1716526"/>
                  </a:lnTo>
                  <a:close/>
                  <a:moveTo>
                    <a:pt x="4228772" y="1666123"/>
                  </a:moveTo>
                  <a:cubicBezTo>
                    <a:pt x="4228740" y="1693569"/>
                    <a:pt x="4228720" y="1721008"/>
                    <a:pt x="4228685" y="1748456"/>
                  </a:cubicBezTo>
                  <a:lnTo>
                    <a:pt x="4361222" y="1748456"/>
                  </a:lnTo>
                  <a:lnTo>
                    <a:pt x="4361222" y="1666123"/>
                  </a:lnTo>
                  <a:close/>
                  <a:moveTo>
                    <a:pt x="3764736" y="1565137"/>
                  </a:moveTo>
                  <a:lnTo>
                    <a:pt x="3764593" y="1676398"/>
                  </a:lnTo>
                  <a:lnTo>
                    <a:pt x="3970564" y="1676398"/>
                  </a:lnTo>
                  <a:lnTo>
                    <a:pt x="3970564" y="1565137"/>
                  </a:lnTo>
                  <a:close/>
                  <a:moveTo>
                    <a:pt x="3191945" y="1560310"/>
                  </a:moveTo>
                  <a:lnTo>
                    <a:pt x="3191738" y="1704850"/>
                  </a:lnTo>
                  <a:lnTo>
                    <a:pt x="3358797" y="1704850"/>
                  </a:lnTo>
                  <a:lnTo>
                    <a:pt x="3358797" y="1560310"/>
                  </a:lnTo>
                  <a:close/>
                  <a:moveTo>
                    <a:pt x="4228892" y="1554095"/>
                  </a:moveTo>
                  <a:lnTo>
                    <a:pt x="4228804" y="1636428"/>
                  </a:lnTo>
                  <a:lnTo>
                    <a:pt x="4361222" y="1636428"/>
                  </a:lnTo>
                  <a:lnTo>
                    <a:pt x="4361222" y="1554095"/>
                  </a:lnTo>
                  <a:close/>
                  <a:moveTo>
                    <a:pt x="2286675" y="1484703"/>
                  </a:moveTo>
                  <a:lnTo>
                    <a:pt x="2286387" y="1666466"/>
                  </a:lnTo>
                  <a:lnTo>
                    <a:pt x="2621785" y="1666466"/>
                  </a:lnTo>
                  <a:lnTo>
                    <a:pt x="2621785" y="1484703"/>
                  </a:lnTo>
                  <a:close/>
                  <a:moveTo>
                    <a:pt x="147597" y="1455436"/>
                  </a:moveTo>
                  <a:lnTo>
                    <a:pt x="147597" y="1696950"/>
                  </a:lnTo>
                  <a:lnTo>
                    <a:pt x="1452503" y="1696950"/>
                  </a:lnTo>
                  <a:lnTo>
                    <a:pt x="1452503" y="1455436"/>
                  </a:lnTo>
                  <a:close/>
                  <a:moveTo>
                    <a:pt x="4229011" y="1442067"/>
                  </a:moveTo>
                  <a:lnTo>
                    <a:pt x="4228923" y="1524400"/>
                  </a:lnTo>
                  <a:lnTo>
                    <a:pt x="4361222" y="1524400"/>
                  </a:lnTo>
                  <a:lnTo>
                    <a:pt x="4361222" y="1442067"/>
                  </a:lnTo>
                  <a:close/>
                  <a:moveTo>
                    <a:pt x="3764931" y="1413748"/>
                  </a:moveTo>
                  <a:lnTo>
                    <a:pt x="3764788" y="1525009"/>
                  </a:lnTo>
                  <a:lnTo>
                    <a:pt x="3970564" y="1525009"/>
                  </a:lnTo>
                  <a:lnTo>
                    <a:pt x="3970564" y="1413748"/>
                  </a:lnTo>
                  <a:close/>
                  <a:moveTo>
                    <a:pt x="3192228" y="1363638"/>
                  </a:moveTo>
                  <a:lnTo>
                    <a:pt x="3192020" y="1508179"/>
                  </a:lnTo>
                  <a:lnTo>
                    <a:pt x="3358797" y="1508179"/>
                  </a:lnTo>
                  <a:lnTo>
                    <a:pt x="3358797" y="1363638"/>
                  </a:lnTo>
                  <a:close/>
                  <a:moveTo>
                    <a:pt x="4229187" y="1330039"/>
                  </a:moveTo>
                  <a:cubicBezTo>
                    <a:pt x="4229102" y="1357559"/>
                    <a:pt x="4229059" y="1384997"/>
                    <a:pt x="4229042" y="1412372"/>
                  </a:cubicBezTo>
                  <a:lnTo>
                    <a:pt x="4361222" y="1412372"/>
                  </a:lnTo>
                  <a:lnTo>
                    <a:pt x="4361222" y="1330039"/>
                  </a:lnTo>
                  <a:close/>
                  <a:moveTo>
                    <a:pt x="3765200" y="1262359"/>
                  </a:moveTo>
                  <a:cubicBezTo>
                    <a:pt x="3765074" y="1299549"/>
                    <a:pt x="3765005" y="1336628"/>
                    <a:pt x="3764983" y="1373620"/>
                  </a:cubicBezTo>
                  <a:lnTo>
                    <a:pt x="3970564" y="1373620"/>
                  </a:lnTo>
                  <a:lnTo>
                    <a:pt x="3970564" y="1262359"/>
                  </a:lnTo>
                  <a:close/>
                  <a:moveTo>
                    <a:pt x="2287066" y="1237385"/>
                  </a:moveTo>
                  <a:lnTo>
                    <a:pt x="2286779" y="1419148"/>
                  </a:lnTo>
                  <a:lnTo>
                    <a:pt x="2621785" y="1419148"/>
                  </a:lnTo>
                  <a:lnTo>
                    <a:pt x="2621785" y="1237385"/>
                  </a:lnTo>
                  <a:close/>
                  <a:moveTo>
                    <a:pt x="4229495" y="1218011"/>
                  </a:moveTo>
                  <a:lnTo>
                    <a:pt x="4229268" y="1300344"/>
                  </a:lnTo>
                  <a:lnTo>
                    <a:pt x="4361222" y="1300344"/>
                  </a:lnTo>
                  <a:lnTo>
                    <a:pt x="4361222" y="1218011"/>
                  </a:lnTo>
                  <a:close/>
                  <a:moveTo>
                    <a:pt x="3192511" y="1166966"/>
                  </a:moveTo>
                  <a:lnTo>
                    <a:pt x="3192303" y="1311507"/>
                  </a:lnTo>
                  <a:lnTo>
                    <a:pt x="3358797" y="1311507"/>
                  </a:lnTo>
                  <a:lnTo>
                    <a:pt x="3358797" y="1166966"/>
                  </a:lnTo>
                  <a:close/>
                  <a:moveTo>
                    <a:pt x="147597" y="1126816"/>
                  </a:moveTo>
                  <a:lnTo>
                    <a:pt x="147597" y="1368331"/>
                  </a:lnTo>
                  <a:lnTo>
                    <a:pt x="1452503" y="1368331"/>
                  </a:lnTo>
                  <a:lnTo>
                    <a:pt x="1452503" y="1126816"/>
                  </a:lnTo>
                  <a:close/>
                  <a:moveTo>
                    <a:pt x="3765703" y="1110970"/>
                  </a:moveTo>
                  <a:lnTo>
                    <a:pt x="3765333" y="1222231"/>
                  </a:lnTo>
                  <a:lnTo>
                    <a:pt x="3970564" y="1222231"/>
                  </a:lnTo>
                  <a:lnTo>
                    <a:pt x="3970564" y="1110970"/>
                  </a:lnTo>
                  <a:close/>
                  <a:moveTo>
                    <a:pt x="4229803" y="1105983"/>
                  </a:moveTo>
                  <a:lnTo>
                    <a:pt x="4229576" y="1188317"/>
                  </a:lnTo>
                  <a:lnTo>
                    <a:pt x="4361222" y="1188317"/>
                  </a:lnTo>
                  <a:lnTo>
                    <a:pt x="4361222" y="1105983"/>
                  </a:lnTo>
                  <a:close/>
                  <a:moveTo>
                    <a:pt x="2287502" y="990067"/>
                  </a:moveTo>
                  <a:cubicBezTo>
                    <a:pt x="2287329" y="1050814"/>
                    <a:pt x="2287196" y="1111388"/>
                    <a:pt x="2287170" y="1171830"/>
                  </a:cubicBezTo>
                  <a:lnTo>
                    <a:pt x="2621785" y="1171830"/>
                  </a:lnTo>
                  <a:lnTo>
                    <a:pt x="2621785" y="990067"/>
                  </a:lnTo>
                  <a:close/>
                  <a:moveTo>
                    <a:pt x="3193216" y="970294"/>
                  </a:moveTo>
                  <a:lnTo>
                    <a:pt x="3192679" y="1114835"/>
                  </a:lnTo>
                  <a:lnTo>
                    <a:pt x="3358797" y="1114835"/>
                  </a:lnTo>
                  <a:lnTo>
                    <a:pt x="3358797" y="970294"/>
                  </a:lnTo>
                  <a:close/>
                  <a:moveTo>
                    <a:pt x="3766207" y="959581"/>
                  </a:moveTo>
                  <a:lnTo>
                    <a:pt x="3765837" y="1070842"/>
                  </a:lnTo>
                  <a:lnTo>
                    <a:pt x="3970564" y="1070842"/>
                  </a:lnTo>
                  <a:lnTo>
                    <a:pt x="3970564" y="959581"/>
                  </a:lnTo>
                  <a:close/>
                  <a:moveTo>
                    <a:pt x="147597" y="798197"/>
                  </a:moveTo>
                  <a:lnTo>
                    <a:pt x="147597" y="1039711"/>
                  </a:lnTo>
                  <a:lnTo>
                    <a:pt x="1452503" y="1039711"/>
                  </a:lnTo>
                  <a:lnTo>
                    <a:pt x="1452503" y="798197"/>
                  </a:lnTo>
                  <a:close/>
                  <a:moveTo>
                    <a:pt x="3193946" y="773623"/>
                  </a:moveTo>
                  <a:lnTo>
                    <a:pt x="3193409" y="918164"/>
                  </a:lnTo>
                  <a:lnTo>
                    <a:pt x="3358797" y="918164"/>
                  </a:lnTo>
                  <a:lnTo>
                    <a:pt x="3358797" y="773623"/>
                  </a:lnTo>
                  <a:close/>
                  <a:moveTo>
                    <a:pt x="2288285" y="742749"/>
                  </a:moveTo>
                  <a:lnTo>
                    <a:pt x="2287710" y="924512"/>
                  </a:lnTo>
                  <a:lnTo>
                    <a:pt x="2621785" y="924512"/>
                  </a:lnTo>
                  <a:lnTo>
                    <a:pt x="2621785" y="742749"/>
                  </a:lnTo>
                  <a:close/>
                  <a:moveTo>
                    <a:pt x="2289342" y="495431"/>
                  </a:moveTo>
                  <a:cubicBezTo>
                    <a:pt x="2288957" y="556278"/>
                    <a:pt x="2288699" y="616852"/>
                    <a:pt x="2288492" y="677194"/>
                  </a:cubicBezTo>
                  <a:lnTo>
                    <a:pt x="2621785" y="677194"/>
                  </a:lnTo>
                  <a:lnTo>
                    <a:pt x="2621785" y="495431"/>
                  </a:lnTo>
                  <a:close/>
                  <a:moveTo>
                    <a:pt x="147597" y="469577"/>
                  </a:moveTo>
                  <a:lnTo>
                    <a:pt x="147597" y="711091"/>
                  </a:lnTo>
                  <a:lnTo>
                    <a:pt x="1452503" y="711091"/>
                  </a:lnTo>
                  <a:lnTo>
                    <a:pt x="1452503" y="469577"/>
                  </a:lnTo>
                  <a:close/>
                  <a:moveTo>
                    <a:pt x="147597" y="140958"/>
                  </a:moveTo>
                  <a:lnTo>
                    <a:pt x="147597" y="382472"/>
                  </a:lnTo>
                  <a:lnTo>
                    <a:pt x="1452503" y="382472"/>
                  </a:lnTo>
                  <a:lnTo>
                    <a:pt x="1452503" y="140958"/>
                  </a:lnTo>
                  <a:close/>
                  <a:moveTo>
                    <a:pt x="1522088" y="137"/>
                  </a:moveTo>
                  <a:cubicBezTo>
                    <a:pt x="1523433" y="2421"/>
                    <a:pt x="1526034" y="32164"/>
                    <a:pt x="1525754" y="6990"/>
                  </a:cubicBezTo>
                  <a:lnTo>
                    <a:pt x="2290491" y="265714"/>
                  </a:lnTo>
                  <a:lnTo>
                    <a:pt x="2289835" y="396916"/>
                  </a:lnTo>
                  <a:lnTo>
                    <a:pt x="2668824" y="396916"/>
                  </a:lnTo>
                  <a:lnTo>
                    <a:pt x="2669354" y="389450"/>
                  </a:lnTo>
                  <a:cubicBezTo>
                    <a:pt x="2670273" y="391169"/>
                    <a:pt x="2672051" y="413554"/>
                    <a:pt x="2671860" y="394607"/>
                  </a:cubicBezTo>
                  <a:lnTo>
                    <a:pt x="3194631" y="589322"/>
                  </a:lnTo>
                  <a:lnTo>
                    <a:pt x="3194237" y="695282"/>
                  </a:lnTo>
                  <a:lnTo>
                    <a:pt x="3392281" y="695282"/>
                  </a:lnTo>
                  <a:lnTo>
                    <a:pt x="3392658" y="689345"/>
                  </a:lnTo>
                  <a:cubicBezTo>
                    <a:pt x="3393313" y="690712"/>
                    <a:pt x="3394579" y="708512"/>
                    <a:pt x="3394442" y="693446"/>
                  </a:cubicBezTo>
                  <a:lnTo>
                    <a:pt x="3766577" y="848287"/>
                  </a:lnTo>
                  <a:lnTo>
                    <a:pt x="3766415" y="896895"/>
                  </a:lnTo>
                  <a:lnTo>
                    <a:pt x="3992111" y="894707"/>
                  </a:lnTo>
                  <a:cubicBezTo>
                    <a:pt x="3992527" y="895759"/>
                    <a:pt x="3993332" y="909462"/>
                    <a:pt x="3993246" y="897864"/>
                  </a:cubicBezTo>
                  <a:lnTo>
                    <a:pt x="4230047" y="1017053"/>
                  </a:lnTo>
                  <a:lnTo>
                    <a:pt x="4229925" y="1061359"/>
                  </a:lnTo>
                  <a:lnTo>
                    <a:pt x="4378988" y="1061359"/>
                  </a:lnTo>
                  <a:cubicBezTo>
                    <a:pt x="4380140" y="1061052"/>
                    <a:pt x="4380138" y="1060702"/>
                    <a:pt x="4380135" y="1060313"/>
                  </a:cubicBezTo>
                  <a:lnTo>
                    <a:pt x="4577581" y="1148513"/>
                  </a:lnTo>
                  <a:cubicBezTo>
                    <a:pt x="4575973" y="1496802"/>
                    <a:pt x="4576999" y="1815055"/>
                    <a:pt x="4575391" y="2163344"/>
                  </a:cubicBezTo>
                  <a:lnTo>
                    <a:pt x="4381009" y="2265433"/>
                  </a:lnTo>
                  <a:cubicBezTo>
                    <a:pt x="4381046" y="2265704"/>
                    <a:pt x="4381083" y="2265974"/>
                    <a:pt x="4381120" y="2266245"/>
                  </a:cubicBezTo>
                  <a:lnTo>
                    <a:pt x="4227756" y="2266245"/>
                  </a:lnTo>
                  <a:cubicBezTo>
                    <a:pt x="4227732" y="2306707"/>
                    <a:pt x="4227588" y="2347422"/>
                    <a:pt x="4227420" y="2388447"/>
                  </a:cubicBezTo>
                  <a:lnTo>
                    <a:pt x="3994294" y="2526405"/>
                  </a:lnTo>
                  <a:cubicBezTo>
                    <a:pt x="3994339" y="2526771"/>
                    <a:pt x="3994383" y="2527136"/>
                    <a:pt x="3994428" y="2527502"/>
                  </a:cubicBezTo>
                  <a:lnTo>
                    <a:pt x="3762789" y="2527502"/>
                  </a:lnTo>
                  <a:cubicBezTo>
                    <a:pt x="3762773" y="2561476"/>
                    <a:pt x="3762619" y="2595596"/>
                    <a:pt x="3762449" y="2629882"/>
                  </a:cubicBezTo>
                  <a:lnTo>
                    <a:pt x="3396090" y="2809106"/>
                  </a:lnTo>
                  <a:cubicBezTo>
                    <a:pt x="3396159" y="2809581"/>
                    <a:pt x="3396230" y="2810056"/>
                    <a:pt x="3396300" y="2810531"/>
                  </a:cubicBezTo>
                  <a:lnTo>
                    <a:pt x="3188902" y="2810531"/>
                  </a:lnTo>
                  <a:cubicBezTo>
                    <a:pt x="3188901" y="2816920"/>
                    <a:pt x="3188866" y="2823313"/>
                    <a:pt x="3188831" y="2829710"/>
                  </a:cubicBezTo>
                  <a:lnTo>
                    <a:pt x="2674174" y="3055087"/>
                  </a:lnTo>
                  <a:cubicBezTo>
                    <a:pt x="2674272" y="3055685"/>
                    <a:pt x="2674371" y="3056282"/>
                    <a:pt x="2674469" y="3056879"/>
                  </a:cubicBezTo>
                  <a:lnTo>
                    <a:pt x="2282936" y="3056879"/>
                  </a:lnTo>
                  <a:cubicBezTo>
                    <a:pt x="2282728" y="3118483"/>
                    <a:pt x="2282386" y="3180374"/>
                    <a:pt x="2282007" y="3242591"/>
                  </a:cubicBezTo>
                  <a:lnTo>
                    <a:pt x="1529139" y="3542057"/>
                  </a:lnTo>
                  <a:cubicBezTo>
                    <a:pt x="1529283" y="3542851"/>
                    <a:pt x="1529427" y="3543644"/>
                    <a:pt x="1529571" y="3544438"/>
                  </a:cubicBezTo>
                  <a:lnTo>
                    <a:pt x="0" y="3544438"/>
                  </a:lnTo>
                  <a:lnTo>
                    <a:pt x="0" y="10057"/>
                  </a:lnTo>
                  <a:lnTo>
                    <a:pt x="1521313" y="10057"/>
                  </a:lnTo>
                  <a:lnTo>
                    <a:pt x="1521538" y="1664"/>
                  </a:lnTo>
                  <a:cubicBezTo>
                    <a:pt x="1521674" y="138"/>
                    <a:pt x="1521863" y="-244"/>
                    <a:pt x="1522088" y="13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500"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48" name="Group 147"/>
            <p:cNvGrpSpPr/>
            <p:nvPr/>
          </p:nvGrpSpPr>
          <p:grpSpPr>
            <a:xfrm>
              <a:off x="2616512" y="3235470"/>
              <a:ext cx="5421568" cy="1358892"/>
              <a:chOff x="2616512" y="3235470"/>
              <a:chExt cx="5421568" cy="1358892"/>
            </a:xfrm>
            <a:grpFill/>
          </p:grpSpPr>
          <p:sp>
            <p:nvSpPr>
              <p:cNvPr id="149" name="Rectangle 25"/>
              <p:cNvSpPr>
                <a:spLocks noChangeAspect="1"/>
              </p:cNvSpPr>
              <p:nvPr/>
            </p:nvSpPr>
            <p:spPr bwMode="auto">
              <a:xfrm>
                <a:off x="2616512" y="3338709"/>
                <a:ext cx="301457" cy="20878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8288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500" spc="-50" dirty="0" err="1" smtClean="0">
                  <a:solidFill>
                    <a:schemeClr val="accent2"/>
                  </a:solidFill>
                  <a:latin typeface="Segoe UI" pitchFamily="34" charset="0"/>
                  <a:ea typeface="Segoe UI" pitchFamily="34" charset="0"/>
                  <a:cs typeface="Segoe UI" pitchFamily="34" charset="0"/>
                </a:endParaRPr>
              </a:p>
            </p:txBody>
          </p:sp>
          <p:sp>
            <p:nvSpPr>
              <p:cNvPr id="150" name="Rectangle 138"/>
              <p:cNvSpPr>
                <a:spLocks noChangeAspect="1"/>
              </p:cNvSpPr>
              <p:nvPr/>
            </p:nvSpPr>
            <p:spPr bwMode="auto">
              <a:xfrm rot="5400000">
                <a:off x="7612747" y="4099710"/>
                <a:ext cx="425278" cy="425389"/>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solidFill>
                    <a:schemeClr val="accent2"/>
                  </a:solidFill>
                  <a:latin typeface="Segoe UI" pitchFamily="34" charset="0"/>
                  <a:ea typeface="Segoe UI" pitchFamily="34" charset="0"/>
                  <a:cs typeface="Segoe UI" pitchFamily="34" charset="0"/>
                </a:endParaRPr>
              </a:p>
            </p:txBody>
          </p:sp>
          <p:sp>
            <p:nvSpPr>
              <p:cNvPr id="151" name="Freeform 150"/>
              <p:cNvSpPr>
                <a:spLocks noChangeAspect="1"/>
              </p:cNvSpPr>
              <p:nvPr/>
            </p:nvSpPr>
            <p:spPr bwMode="auto">
              <a:xfrm flipH="1">
                <a:off x="4228186" y="4188200"/>
                <a:ext cx="253695" cy="381858"/>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smtClean="0"/>
              </a:p>
            </p:txBody>
          </p:sp>
          <p:sp>
            <p:nvSpPr>
              <p:cNvPr id="152" name="Freeform 151"/>
              <p:cNvSpPr>
                <a:spLocks noChangeAspect="1"/>
              </p:cNvSpPr>
              <p:nvPr/>
            </p:nvSpPr>
            <p:spPr bwMode="auto">
              <a:xfrm>
                <a:off x="7722164" y="3264273"/>
                <a:ext cx="206443" cy="448150"/>
              </a:xfrm>
              <a:custGeom>
                <a:avLst/>
                <a:gdLst/>
                <a:ahLst/>
                <a:cxnLst/>
                <a:rect l="l" t="t" r="r" b="b"/>
                <a:pathLst>
                  <a:path w="3071644" h="6669704">
                    <a:moveTo>
                      <a:pt x="860406" y="4841277"/>
                    </a:moveTo>
                    <a:cubicBezTo>
                      <a:pt x="876771" y="5049420"/>
                      <a:pt x="904898" y="5401782"/>
                      <a:pt x="927912" y="5547022"/>
                    </a:cubicBezTo>
                    <a:lnTo>
                      <a:pt x="298878" y="5013110"/>
                    </a:lnTo>
                    <a:close/>
                    <a:moveTo>
                      <a:pt x="2888783" y="2603830"/>
                    </a:moveTo>
                    <a:lnTo>
                      <a:pt x="2869766" y="2761484"/>
                    </a:lnTo>
                    <a:lnTo>
                      <a:pt x="1477181" y="2960684"/>
                    </a:lnTo>
                    <a:cubicBezTo>
                      <a:pt x="1478211" y="2909198"/>
                      <a:pt x="1480809" y="2821309"/>
                      <a:pt x="1481839" y="2769823"/>
                    </a:cubicBezTo>
                    <a:close/>
                    <a:moveTo>
                      <a:pt x="1060895" y="2540585"/>
                    </a:moveTo>
                    <a:lnTo>
                      <a:pt x="1462560" y="2769786"/>
                    </a:lnTo>
                    <a:cubicBezTo>
                      <a:pt x="1463590" y="2821272"/>
                      <a:pt x="1458813" y="2901787"/>
                      <a:pt x="1459843" y="2953273"/>
                    </a:cubicBezTo>
                    <a:lnTo>
                      <a:pt x="1060035" y="2733754"/>
                    </a:lnTo>
                    <a:cubicBezTo>
                      <a:pt x="1060322" y="2669364"/>
                      <a:pt x="1060608" y="2604975"/>
                      <a:pt x="1060895" y="2540585"/>
                    </a:cubicBezTo>
                    <a:close/>
                    <a:moveTo>
                      <a:pt x="2453306" y="2418107"/>
                    </a:moveTo>
                    <a:lnTo>
                      <a:pt x="2874878" y="2588611"/>
                    </a:lnTo>
                    <a:lnTo>
                      <a:pt x="1471343" y="2758029"/>
                    </a:lnTo>
                    <a:lnTo>
                      <a:pt x="1077043" y="2535568"/>
                    </a:lnTo>
                    <a:close/>
                    <a:moveTo>
                      <a:pt x="915637" y="549838"/>
                    </a:moveTo>
                    <a:lnTo>
                      <a:pt x="1072299" y="1688042"/>
                    </a:lnTo>
                    <a:lnTo>
                      <a:pt x="2223293" y="1710422"/>
                    </a:lnTo>
                    <a:lnTo>
                      <a:pt x="2066629" y="648952"/>
                    </a:lnTo>
                    <a:close/>
                    <a:moveTo>
                      <a:pt x="544162" y="135800"/>
                    </a:moveTo>
                    <a:cubicBezTo>
                      <a:pt x="886245" y="2248264"/>
                      <a:pt x="1137978" y="4212682"/>
                      <a:pt x="1096884" y="6277248"/>
                    </a:cubicBezTo>
                    <a:lnTo>
                      <a:pt x="258412" y="5469800"/>
                    </a:lnTo>
                    <a:lnTo>
                      <a:pt x="239362" y="5022125"/>
                    </a:lnTo>
                    <a:lnTo>
                      <a:pt x="953737" y="5612675"/>
                    </a:lnTo>
                    <a:lnTo>
                      <a:pt x="391490" y="255815"/>
                    </a:lnTo>
                    <a:close/>
                    <a:moveTo>
                      <a:pt x="504792" y="0"/>
                    </a:moveTo>
                    <a:lnTo>
                      <a:pt x="2087212" y="192950"/>
                    </a:lnTo>
                    <a:cubicBezTo>
                      <a:pt x="2235439" y="221344"/>
                      <a:pt x="2238523" y="258446"/>
                      <a:pt x="2264831" y="371022"/>
                    </a:cubicBezTo>
                    <a:cubicBezTo>
                      <a:pt x="2373931" y="1119500"/>
                      <a:pt x="2475964" y="1783285"/>
                      <a:pt x="2556820" y="2435034"/>
                    </a:cubicBezTo>
                    <a:lnTo>
                      <a:pt x="2466852" y="2395673"/>
                    </a:lnTo>
                    <a:lnTo>
                      <a:pt x="1029938" y="2519770"/>
                    </a:lnTo>
                    <a:lnTo>
                      <a:pt x="1036469" y="2725510"/>
                    </a:lnTo>
                    <a:lnTo>
                      <a:pt x="1464278" y="2970439"/>
                    </a:lnTo>
                    <a:lnTo>
                      <a:pt x="2601940" y="2812795"/>
                    </a:lnTo>
                    <a:cubicBezTo>
                      <a:pt x="2699015" y="3663122"/>
                      <a:pt x="2756062" y="4516807"/>
                      <a:pt x="2744437" y="5536475"/>
                    </a:cubicBezTo>
                    <a:lnTo>
                      <a:pt x="3034646" y="5733861"/>
                    </a:lnTo>
                    <a:cubicBezTo>
                      <a:pt x="3111682" y="5796350"/>
                      <a:pt x="3054469" y="5889234"/>
                      <a:pt x="2989659" y="5936525"/>
                    </a:cubicBezTo>
                    <a:cubicBezTo>
                      <a:pt x="2537516" y="6397551"/>
                      <a:pt x="2006852" y="6506495"/>
                      <a:pt x="1420462" y="6650900"/>
                    </a:cubicBezTo>
                    <a:cubicBezTo>
                      <a:pt x="1257253" y="6680012"/>
                      <a:pt x="1094044" y="6681261"/>
                      <a:pt x="938434" y="6611587"/>
                    </a:cubicBezTo>
                    <a:cubicBezTo>
                      <a:pt x="610230" y="6325564"/>
                      <a:pt x="332686" y="6009146"/>
                      <a:pt x="29812" y="5707925"/>
                    </a:cubicBezTo>
                    <a:cubicBezTo>
                      <a:pt x="-18315" y="5643853"/>
                      <a:pt x="-584" y="5602578"/>
                      <a:pt x="29812" y="5584100"/>
                    </a:cubicBezTo>
                    <a:cubicBezTo>
                      <a:pt x="121209" y="5539078"/>
                      <a:pt x="182212" y="5529518"/>
                      <a:pt x="258412" y="5507293"/>
                    </a:cubicBezTo>
                    <a:lnTo>
                      <a:pt x="1106137" y="6336575"/>
                    </a:lnTo>
                    <a:cubicBezTo>
                      <a:pt x="1260894" y="4582981"/>
                      <a:pt x="772285" y="1192312"/>
                      <a:pt x="568362" y="151255"/>
                    </a:cubicBezTo>
                    <a:cubicBezTo>
                      <a:pt x="563521" y="121327"/>
                      <a:pt x="566348" y="126886"/>
                      <a:pt x="50479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1"/>
                <a:endParaRPr lang="en-US" dirty="0"/>
              </a:p>
            </p:txBody>
          </p:sp>
          <p:sp>
            <p:nvSpPr>
              <p:cNvPr id="153" name="Rectangle 19"/>
              <p:cNvSpPr>
                <a:spLocks noChangeAspect="1"/>
              </p:cNvSpPr>
              <p:nvPr/>
            </p:nvSpPr>
            <p:spPr bwMode="auto">
              <a:xfrm>
                <a:off x="3292277" y="3387614"/>
                <a:ext cx="478985" cy="470426"/>
              </a:xfrm>
              <a:custGeom>
                <a:avLst/>
                <a:gdLst/>
                <a:ahLst/>
                <a:cxnLst/>
                <a:rect l="l" t="t" r="r" b="b"/>
                <a:pathLst>
                  <a:path w="4318246" h="4242185">
                    <a:moveTo>
                      <a:pt x="341993" y="2164765"/>
                    </a:moveTo>
                    <a:lnTo>
                      <a:pt x="797381" y="2439279"/>
                    </a:lnTo>
                    <a:lnTo>
                      <a:pt x="798646" y="2164765"/>
                    </a:lnTo>
                    <a:close/>
                    <a:moveTo>
                      <a:pt x="801460" y="1554075"/>
                    </a:moveTo>
                    <a:lnTo>
                      <a:pt x="1884317" y="1708652"/>
                    </a:lnTo>
                    <a:cubicBezTo>
                      <a:pt x="1880053" y="2439084"/>
                      <a:pt x="1872524" y="3185843"/>
                      <a:pt x="1868260" y="3916275"/>
                    </a:cubicBezTo>
                    <a:lnTo>
                      <a:pt x="791935" y="3621000"/>
                    </a:lnTo>
                    <a:lnTo>
                      <a:pt x="796859" y="2552606"/>
                    </a:lnTo>
                    <a:lnTo>
                      <a:pt x="153476" y="2164765"/>
                    </a:lnTo>
                    <a:lnTo>
                      <a:pt x="0" y="2164765"/>
                    </a:lnTo>
                    <a:lnTo>
                      <a:pt x="0" y="1994948"/>
                    </a:lnTo>
                    <a:lnTo>
                      <a:pt x="799428" y="1994948"/>
                    </a:lnTo>
                    <a:close/>
                    <a:moveTo>
                      <a:pt x="2601684" y="1506451"/>
                    </a:moveTo>
                    <a:lnTo>
                      <a:pt x="2630259" y="2708363"/>
                    </a:lnTo>
                    <a:lnTo>
                      <a:pt x="1923394" y="3008076"/>
                    </a:lnTo>
                    <a:cubicBezTo>
                      <a:pt x="1921398" y="2576713"/>
                      <a:pt x="1922729" y="2145351"/>
                      <a:pt x="1920733" y="1713988"/>
                    </a:cubicBezTo>
                    <a:close/>
                    <a:moveTo>
                      <a:pt x="1673900" y="1376706"/>
                    </a:moveTo>
                    <a:lnTo>
                      <a:pt x="2580211" y="1489805"/>
                    </a:lnTo>
                    <a:cubicBezTo>
                      <a:pt x="2260996" y="1610712"/>
                      <a:pt x="2161818" y="1605197"/>
                      <a:pt x="1929100" y="1695212"/>
                    </a:cubicBezTo>
                    <a:lnTo>
                      <a:pt x="814183" y="1540776"/>
                    </a:lnTo>
                    <a:close/>
                    <a:moveTo>
                      <a:pt x="1778588" y="878064"/>
                    </a:moveTo>
                    <a:lnTo>
                      <a:pt x="2354849" y="942701"/>
                    </a:lnTo>
                    <a:cubicBezTo>
                      <a:pt x="2357649" y="1096870"/>
                      <a:pt x="2347148" y="1237740"/>
                      <a:pt x="2349948" y="1391909"/>
                    </a:cubicBezTo>
                    <a:lnTo>
                      <a:pt x="2353906" y="1424677"/>
                    </a:lnTo>
                    <a:lnTo>
                      <a:pt x="1778588" y="1338180"/>
                    </a:lnTo>
                    <a:close/>
                    <a:moveTo>
                      <a:pt x="2951461" y="527541"/>
                    </a:moveTo>
                    <a:cubicBezTo>
                      <a:pt x="2907654" y="520554"/>
                      <a:pt x="2866480" y="550402"/>
                      <a:pt x="2859493" y="594208"/>
                    </a:cubicBezTo>
                    <a:lnTo>
                      <a:pt x="2808895" y="911472"/>
                    </a:lnTo>
                    <a:cubicBezTo>
                      <a:pt x="2801908" y="955278"/>
                      <a:pt x="2831756" y="996453"/>
                      <a:pt x="2875562" y="1003440"/>
                    </a:cubicBezTo>
                    <a:lnTo>
                      <a:pt x="3318707" y="1074114"/>
                    </a:lnTo>
                    <a:cubicBezTo>
                      <a:pt x="3362513" y="1081101"/>
                      <a:pt x="3403688" y="1051253"/>
                      <a:pt x="3410674" y="1007447"/>
                    </a:cubicBezTo>
                    <a:lnTo>
                      <a:pt x="3461273" y="690183"/>
                    </a:lnTo>
                    <a:cubicBezTo>
                      <a:pt x="3468260" y="646377"/>
                      <a:pt x="3438412" y="605202"/>
                      <a:pt x="3394605" y="598216"/>
                    </a:cubicBezTo>
                    <a:close/>
                    <a:moveTo>
                      <a:pt x="4318246" y="368343"/>
                    </a:moveTo>
                    <a:lnTo>
                      <a:pt x="4261872" y="3327785"/>
                    </a:lnTo>
                    <a:lnTo>
                      <a:pt x="3222088" y="4242185"/>
                    </a:lnTo>
                    <a:lnTo>
                      <a:pt x="1919228" y="3914731"/>
                    </a:lnTo>
                    <a:lnTo>
                      <a:pt x="1919473" y="3320806"/>
                    </a:lnTo>
                    <a:lnTo>
                      <a:pt x="3334836" y="3630526"/>
                    </a:lnTo>
                    <a:lnTo>
                      <a:pt x="4067695" y="3130077"/>
                    </a:lnTo>
                    <a:lnTo>
                      <a:pt x="4067695" y="423948"/>
                    </a:lnTo>
                    <a:close/>
                    <a:moveTo>
                      <a:pt x="2736579" y="368342"/>
                    </a:moveTo>
                    <a:lnTo>
                      <a:pt x="3990789" y="417769"/>
                    </a:lnTo>
                    <a:lnTo>
                      <a:pt x="3990789" y="3074472"/>
                    </a:lnTo>
                    <a:lnTo>
                      <a:pt x="3317346" y="3562564"/>
                    </a:lnTo>
                    <a:lnTo>
                      <a:pt x="1919793" y="3260416"/>
                    </a:lnTo>
                    <a:cubicBezTo>
                      <a:pt x="1920799" y="3194323"/>
                      <a:pt x="1918481" y="3121579"/>
                      <a:pt x="1919487" y="3055486"/>
                    </a:cubicBezTo>
                    <a:cubicBezTo>
                      <a:pt x="2158384" y="2933978"/>
                      <a:pt x="2491503" y="2806742"/>
                      <a:pt x="2730400" y="2685234"/>
                    </a:cubicBezTo>
                    <a:cubicBezTo>
                      <a:pt x="2732460" y="1912937"/>
                      <a:pt x="2734519" y="1140639"/>
                      <a:pt x="2736579" y="368342"/>
                    </a:cubicBezTo>
                    <a:close/>
                    <a:moveTo>
                      <a:pt x="1768680" y="108305"/>
                    </a:moveTo>
                    <a:lnTo>
                      <a:pt x="1682767" y="646920"/>
                    </a:lnTo>
                    <a:lnTo>
                      <a:pt x="2457966" y="770570"/>
                    </a:lnTo>
                    <a:lnTo>
                      <a:pt x="2543879" y="231954"/>
                    </a:lnTo>
                    <a:close/>
                    <a:moveTo>
                      <a:pt x="1739342" y="1062"/>
                    </a:moveTo>
                    <a:lnTo>
                      <a:pt x="2617052" y="132810"/>
                    </a:lnTo>
                    <a:cubicBezTo>
                      <a:pt x="2668797" y="140577"/>
                      <a:pt x="2704448" y="188821"/>
                      <a:pt x="2696681" y="240566"/>
                    </a:cubicBezTo>
                    <a:lnTo>
                      <a:pt x="2607416" y="835252"/>
                    </a:lnTo>
                    <a:cubicBezTo>
                      <a:pt x="2599648" y="886997"/>
                      <a:pt x="2551405" y="922648"/>
                      <a:pt x="2499659" y="914880"/>
                    </a:cubicBezTo>
                    <a:lnTo>
                      <a:pt x="1621950" y="783132"/>
                    </a:lnTo>
                    <a:cubicBezTo>
                      <a:pt x="1570205" y="775365"/>
                      <a:pt x="1534554" y="727121"/>
                      <a:pt x="1542321" y="675376"/>
                    </a:cubicBezTo>
                    <a:lnTo>
                      <a:pt x="1631586" y="80690"/>
                    </a:lnTo>
                    <a:cubicBezTo>
                      <a:pt x="1639354" y="28945"/>
                      <a:pt x="1687597" y="-6706"/>
                      <a:pt x="1739342" y="106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4" name="Trapezoid 14"/>
              <p:cNvSpPr>
                <a:spLocks noChangeAspect="1"/>
              </p:cNvSpPr>
              <p:nvPr/>
            </p:nvSpPr>
            <p:spPr bwMode="auto">
              <a:xfrm>
                <a:off x="3492011" y="4323355"/>
                <a:ext cx="245209" cy="201349"/>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8288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5" name="Freeform 154"/>
              <p:cNvSpPr>
                <a:spLocks noChangeAspect="1" noEditPoints="1"/>
              </p:cNvSpPr>
              <p:nvPr/>
            </p:nvSpPr>
            <p:spPr bwMode="auto">
              <a:xfrm>
                <a:off x="6932731" y="4198337"/>
                <a:ext cx="262379" cy="262310"/>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accent2"/>
                  </a:solidFill>
                </a:endParaRPr>
              </a:p>
            </p:txBody>
          </p:sp>
          <p:sp>
            <p:nvSpPr>
              <p:cNvPr id="156" name="Trapezoid 35"/>
              <p:cNvSpPr>
                <a:spLocks noChangeAspect="1"/>
              </p:cNvSpPr>
              <p:nvPr/>
            </p:nvSpPr>
            <p:spPr bwMode="auto">
              <a:xfrm>
                <a:off x="4890116" y="4426141"/>
                <a:ext cx="116771" cy="143577"/>
              </a:xfrm>
              <a:custGeom>
                <a:avLst/>
                <a:gdLst/>
                <a:ahLst/>
                <a:cxnLst/>
                <a:rect l="l" t="t" r="r" b="b"/>
                <a:pathLst>
                  <a:path w="498727" h="613376">
                    <a:moveTo>
                      <a:pt x="248588" y="85168"/>
                    </a:moveTo>
                    <a:cubicBezTo>
                      <a:pt x="222130" y="85168"/>
                      <a:pt x="200681" y="106618"/>
                      <a:pt x="200681" y="133076"/>
                    </a:cubicBezTo>
                    <a:cubicBezTo>
                      <a:pt x="200681" y="159535"/>
                      <a:pt x="222130" y="180984"/>
                      <a:pt x="248588" y="180984"/>
                    </a:cubicBezTo>
                    <a:cubicBezTo>
                      <a:pt x="275047" y="180984"/>
                      <a:pt x="296496" y="159535"/>
                      <a:pt x="296496" y="133076"/>
                    </a:cubicBezTo>
                    <a:cubicBezTo>
                      <a:pt x="296496" y="106618"/>
                      <a:pt x="275047" y="85168"/>
                      <a:pt x="248588" y="85168"/>
                    </a:cubicBezTo>
                    <a:close/>
                    <a:moveTo>
                      <a:pt x="247841" y="0"/>
                    </a:moveTo>
                    <a:cubicBezTo>
                      <a:pt x="330545" y="0"/>
                      <a:pt x="397998" y="67110"/>
                      <a:pt x="397998" y="150114"/>
                    </a:cubicBezTo>
                    <a:cubicBezTo>
                      <a:pt x="397998" y="151880"/>
                      <a:pt x="397998" y="153646"/>
                      <a:pt x="397998" y="155412"/>
                    </a:cubicBezTo>
                    <a:cubicBezTo>
                      <a:pt x="397998" y="165420"/>
                      <a:pt x="396825" y="176016"/>
                      <a:pt x="394479" y="187201"/>
                    </a:cubicBezTo>
                    <a:cubicBezTo>
                      <a:pt x="394475" y="187211"/>
                      <a:pt x="393802" y="188969"/>
                      <a:pt x="274544" y="500358"/>
                    </a:cubicBezTo>
                    <a:lnTo>
                      <a:pt x="470473" y="500358"/>
                    </a:lnTo>
                    <a:lnTo>
                      <a:pt x="498727" y="613376"/>
                    </a:lnTo>
                    <a:lnTo>
                      <a:pt x="0" y="613376"/>
                    </a:lnTo>
                    <a:lnTo>
                      <a:pt x="28255" y="500358"/>
                    </a:lnTo>
                    <a:lnTo>
                      <a:pt x="220183" y="500358"/>
                    </a:lnTo>
                    <a:cubicBezTo>
                      <a:pt x="199775" y="446642"/>
                      <a:pt x="163981" y="352432"/>
                      <a:pt x="101204" y="187201"/>
                    </a:cubicBezTo>
                    <a:cubicBezTo>
                      <a:pt x="99444" y="178371"/>
                      <a:pt x="98271" y="169541"/>
                      <a:pt x="98271" y="161299"/>
                    </a:cubicBezTo>
                    <a:cubicBezTo>
                      <a:pt x="98271" y="157767"/>
                      <a:pt x="98271" y="154235"/>
                      <a:pt x="98271" y="150114"/>
                    </a:cubicBezTo>
                    <a:cubicBezTo>
                      <a:pt x="98271" y="67110"/>
                      <a:pt x="165138" y="0"/>
                      <a:pt x="247841" y="0"/>
                    </a:cubicBezTo>
                    <a:close/>
                  </a:path>
                </a:pathLst>
              </a:custGeom>
              <a:grpFill/>
              <a:ln w="25400" cap="sq" cmpd="sng" algn="ctr">
                <a:no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50" normalizeH="0" baseline="0" noProof="0" dirty="0" smtClean="0">
                  <a:ln>
                    <a:noFill/>
                  </a:ln>
                  <a:solidFill>
                    <a:schemeClr val="accent2"/>
                  </a:solidFill>
                  <a:effectLst/>
                  <a:uLnTx/>
                  <a:uFillTx/>
                  <a:latin typeface="Segoe Light" pitchFamily="34" charset="0"/>
                  <a:ea typeface="+mn-ea"/>
                  <a:cs typeface="+mn-cs"/>
                </a:endParaRPr>
              </a:p>
            </p:txBody>
          </p:sp>
          <p:sp>
            <p:nvSpPr>
              <p:cNvPr id="157" name="Rectangle 34"/>
              <p:cNvSpPr>
                <a:spLocks noChangeAspect="1"/>
              </p:cNvSpPr>
              <p:nvPr/>
            </p:nvSpPr>
            <p:spPr bwMode="auto">
              <a:xfrm>
                <a:off x="4236748" y="3402704"/>
                <a:ext cx="97385" cy="171288"/>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solidFill>
                    <a:schemeClr val="accent2"/>
                  </a:solidFill>
                  <a:latin typeface="Segoe UI" pitchFamily="34" charset="0"/>
                  <a:ea typeface="Segoe UI" pitchFamily="34" charset="0"/>
                  <a:cs typeface="Segoe UI" pitchFamily="34" charset="0"/>
                </a:endParaRPr>
              </a:p>
            </p:txBody>
          </p:sp>
          <p:sp>
            <p:nvSpPr>
              <p:cNvPr id="158" name="Freeform 157"/>
              <p:cNvSpPr>
                <a:spLocks noChangeAspect="1"/>
              </p:cNvSpPr>
              <p:nvPr/>
            </p:nvSpPr>
            <p:spPr bwMode="auto">
              <a:xfrm>
                <a:off x="4750003" y="3235470"/>
                <a:ext cx="146372" cy="143347"/>
              </a:xfrm>
              <a:custGeom>
                <a:avLst/>
                <a:gdLst/>
                <a:ahLst/>
                <a:cxnLst/>
                <a:rect l="l" t="t" r="r" b="b"/>
                <a:pathLst>
                  <a:path w="2765779" h="2709334">
                    <a:moveTo>
                      <a:pt x="2665062" y="2328296"/>
                    </a:moveTo>
                    <a:lnTo>
                      <a:pt x="1426344" y="2380683"/>
                    </a:lnTo>
                    <a:lnTo>
                      <a:pt x="1426344" y="2538426"/>
                    </a:lnTo>
                    <a:lnTo>
                      <a:pt x="2660300" y="2481276"/>
                    </a:lnTo>
                    <a:close/>
                    <a:moveTo>
                      <a:pt x="1789156" y="1884445"/>
                    </a:moveTo>
                    <a:lnTo>
                      <a:pt x="1621278" y="2052323"/>
                    </a:lnTo>
                    <a:lnTo>
                      <a:pt x="1705217" y="2052323"/>
                    </a:lnTo>
                    <a:lnTo>
                      <a:pt x="1705217" y="2320356"/>
                    </a:lnTo>
                    <a:lnTo>
                      <a:pt x="1873095" y="2320356"/>
                    </a:lnTo>
                    <a:lnTo>
                      <a:pt x="1873095" y="2052323"/>
                    </a:lnTo>
                    <a:lnTo>
                      <a:pt x="1957034" y="2052323"/>
                    </a:lnTo>
                    <a:close/>
                    <a:moveTo>
                      <a:pt x="2343988" y="1864924"/>
                    </a:moveTo>
                    <a:lnTo>
                      <a:pt x="2176110" y="2032802"/>
                    </a:lnTo>
                    <a:lnTo>
                      <a:pt x="2260049" y="2032802"/>
                    </a:lnTo>
                    <a:lnTo>
                      <a:pt x="2260049" y="2300835"/>
                    </a:lnTo>
                    <a:lnTo>
                      <a:pt x="2427927" y="2300835"/>
                    </a:lnTo>
                    <a:lnTo>
                      <a:pt x="2427927" y="2032802"/>
                    </a:lnTo>
                    <a:lnTo>
                      <a:pt x="2511866" y="2032802"/>
                    </a:lnTo>
                    <a:close/>
                    <a:moveTo>
                      <a:pt x="1242561" y="310092"/>
                    </a:moveTo>
                    <a:lnTo>
                      <a:pt x="831090" y="497124"/>
                    </a:lnTo>
                    <a:cubicBezTo>
                      <a:pt x="834825" y="502719"/>
                      <a:pt x="836419" y="509232"/>
                      <a:pt x="837189" y="516038"/>
                    </a:cubicBezTo>
                    <a:lnTo>
                      <a:pt x="883745" y="927318"/>
                    </a:lnTo>
                    <a:lnTo>
                      <a:pt x="401403" y="981917"/>
                    </a:lnTo>
                    <a:lnTo>
                      <a:pt x="370238" y="706603"/>
                    </a:lnTo>
                    <a:lnTo>
                      <a:pt x="123395" y="818804"/>
                    </a:lnTo>
                    <a:lnTo>
                      <a:pt x="123395" y="2474429"/>
                    </a:lnTo>
                    <a:lnTo>
                      <a:pt x="1242561" y="2529925"/>
                    </a:lnTo>
                    <a:close/>
                    <a:moveTo>
                      <a:pt x="1399823" y="0"/>
                    </a:moveTo>
                    <a:lnTo>
                      <a:pt x="2765779" y="620889"/>
                    </a:lnTo>
                    <a:lnTo>
                      <a:pt x="2765779" y="2641600"/>
                    </a:lnTo>
                    <a:lnTo>
                      <a:pt x="1399823" y="2709334"/>
                    </a:lnTo>
                    <a:close/>
                    <a:moveTo>
                      <a:pt x="1365956" y="0"/>
                    </a:moveTo>
                    <a:lnTo>
                      <a:pt x="1365956" y="2709334"/>
                    </a:lnTo>
                    <a:lnTo>
                      <a:pt x="0" y="2641600"/>
                    </a:lnTo>
                    <a:lnTo>
                      <a:pt x="0" y="620889"/>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9" name="Trapezoid 17"/>
              <p:cNvSpPr>
                <a:spLocks noChangeAspect="1"/>
              </p:cNvSpPr>
              <p:nvPr/>
            </p:nvSpPr>
            <p:spPr bwMode="auto">
              <a:xfrm>
                <a:off x="6549080" y="4418832"/>
                <a:ext cx="201186" cy="175530"/>
              </a:xfrm>
              <a:custGeom>
                <a:avLst/>
                <a:gdLst/>
                <a:ahLst/>
                <a:cxnLst/>
                <a:rect l="l" t="t" r="r" b="b"/>
                <a:pathLst>
                  <a:path w="2415166" h="2107724">
                    <a:moveTo>
                      <a:pt x="1796255" y="1279229"/>
                    </a:moveTo>
                    <a:lnTo>
                      <a:pt x="1796255" y="1282118"/>
                    </a:lnTo>
                    <a:lnTo>
                      <a:pt x="1794238" y="1282118"/>
                    </a:lnTo>
                    <a:close/>
                    <a:moveTo>
                      <a:pt x="2133091" y="1277023"/>
                    </a:moveTo>
                    <a:lnTo>
                      <a:pt x="2133091" y="1282118"/>
                    </a:lnTo>
                    <a:lnTo>
                      <a:pt x="2126573" y="1282118"/>
                    </a:lnTo>
                    <a:cubicBezTo>
                      <a:pt x="2129409" y="1281204"/>
                      <a:pt x="2131293" y="1279159"/>
                      <a:pt x="2133091" y="1277023"/>
                    </a:cubicBezTo>
                    <a:close/>
                    <a:moveTo>
                      <a:pt x="1528177" y="1124425"/>
                    </a:moveTo>
                    <a:lnTo>
                      <a:pt x="1666244" y="1124425"/>
                    </a:lnTo>
                    <a:cubicBezTo>
                      <a:pt x="1639905" y="1142636"/>
                      <a:pt x="1623644" y="1173286"/>
                      <a:pt x="1623644" y="1207734"/>
                    </a:cubicBezTo>
                    <a:cubicBezTo>
                      <a:pt x="1623644" y="1266891"/>
                      <a:pt x="1671599" y="1314846"/>
                      <a:pt x="1730755" y="1314846"/>
                    </a:cubicBezTo>
                    <a:cubicBezTo>
                      <a:pt x="1789912" y="1314846"/>
                      <a:pt x="1837867" y="1266891"/>
                      <a:pt x="1837867" y="1207734"/>
                    </a:cubicBezTo>
                    <a:cubicBezTo>
                      <a:pt x="1837867" y="1173286"/>
                      <a:pt x="1821606" y="1142636"/>
                      <a:pt x="1795268" y="1124425"/>
                    </a:cubicBezTo>
                    <a:lnTo>
                      <a:pt x="1996506" y="1124425"/>
                    </a:lnTo>
                    <a:cubicBezTo>
                      <a:pt x="1970168" y="1142636"/>
                      <a:pt x="1953906" y="1173286"/>
                      <a:pt x="1953906" y="1207734"/>
                    </a:cubicBezTo>
                    <a:cubicBezTo>
                      <a:pt x="1953906" y="1266891"/>
                      <a:pt x="2001861" y="1314846"/>
                      <a:pt x="2061018" y="1314846"/>
                    </a:cubicBezTo>
                    <a:cubicBezTo>
                      <a:pt x="2120174" y="1314846"/>
                      <a:pt x="2168130" y="1266891"/>
                      <a:pt x="2168130" y="1207734"/>
                    </a:cubicBezTo>
                    <a:cubicBezTo>
                      <a:pt x="2168130" y="1173286"/>
                      <a:pt x="2151868" y="1142636"/>
                      <a:pt x="2125530" y="1124425"/>
                    </a:cubicBezTo>
                    <a:lnTo>
                      <a:pt x="2277932" y="1124425"/>
                    </a:lnTo>
                    <a:cubicBezTo>
                      <a:pt x="2318820" y="1124425"/>
                      <a:pt x="2337090" y="1154596"/>
                      <a:pt x="2337090" y="1195484"/>
                    </a:cubicBezTo>
                    <a:lnTo>
                      <a:pt x="2411473" y="2012863"/>
                    </a:lnTo>
                    <a:cubicBezTo>
                      <a:pt x="2411473" y="2053751"/>
                      <a:pt x="2428908" y="2104749"/>
                      <a:pt x="2388020" y="2104749"/>
                    </a:cubicBezTo>
                    <a:lnTo>
                      <a:pt x="1435941" y="2107724"/>
                    </a:lnTo>
                    <a:cubicBezTo>
                      <a:pt x="1395052" y="2107724"/>
                      <a:pt x="1403562" y="2056726"/>
                      <a:pt x="1403562" y="2015838"/>
                    </a:cubicBezTo>
                    <a:cubicBezTo>
                      <a:pt x="1430339" y="1703707"/>
                      <a:pt x="1439266" y="1465959"/>
                      <a:pt x="1466044" y="1180607"/>
                    </a:cubicBezTo>
                    <a:cubicBezTo>
                      <a:pt x="1466044" y="1139719"/>
                      <a:pt x="1487289" y="1124425"/>
                      <a:pt x="1528177" y="1124425"/>
                    </a:cubicBezTo>
                    <a:close/>
                    <a:moveTo>
                      <a:pt x="1629022" y="1112189"/>
                    </a:moveTo>
                    <a:lnTo>
                      <a:pt x="1629322" y="1115479"/>
                    </a:lnTo>
                    <a:lnTo>
                      <a:pt x="1626238" y="1115479"/>
                    </a:lnTo>
                    <a:cubicBezTo>
                      <a:pt x="1626748" y="1113852"/>
                      <a:pt x="1627875" y="1113009"/>
                      <a:pt x="1629022" y="1112189"/>
                    </a:cubicBezTo>
                    <a:close/>
                    <a:moveTo>
                      <a:pt x="1880693" y="871455"/>
                    </a:moveTo>
                    <a:lnTo>
                      <a:pt x="1912922" y="871455"/>
                    </a:lnTo>
                    <a:cubicBezTo>
                      <a:pt x="2009224" y="871455"/>
                      <a:pt x="2087292" y="956275"/>
                      <a:pt x="2087292" y="1060906"/>
                    </a:cubicBezTo>
                    <a:lnTo>
                      <a:pt x="2087292" y="1163088"/>
                    </a:lnTo>
                    <a:lnTo>
                      <a:pt x="2094786" y="1170211"/>
                    </a:lnTo>
                    <a:cubicBezTo>
                      <a:pt x="2096259" y="1170936"/>
                      <a:pt x="2097383" y="1172047"/>
                      <a:pt x="2098192" y="1173449"/>
                    </a:cubicBezTo>
                    <a:cubicBezTo>
                      <a:pt x="2108281" y="1181292"/>
                      <a:pt x="2113666" y="1194209"/>
                      <a:pt x="2113666" y="1208493"/>
                    </a:cubicBezTo>
                    <a:cubicBezTo>
                      <a:pt x="2113666" y="1236761"/>
                      <a:pt x="2092574" y="1259677"/>
                      <a:pt x="2066556" y="1259677"/>
                    </a:cubicBezTo>
                    <a:lnTo>
                      <a:pt x="2061491" y="1258566"/>
                    </a:lnTo>
                    <a:cubicBezTo>
                      <a:pt x="2061334" y="1258661"/>
                      <a:pt x="2061176" y="1258661"/>
                      <a:pt x="2061018" y="1258661"/>
                    </a:cubicBezTo>
                    <a:cubicBezTo>
                      <a:pt x="2032891" y="1258661"/>
                      <a:pt x="2010090" y="1235860"/>
                      <a:pt x="2010090" y="1207734"/>
                    </a:cubicBezTo>
                    <a:cubicBezTo>
                      <a:pt x="2010090" y="1184535"/>
                      <a:pt x="2025603" y="1164959"/>
                      <a:pt x="2047056" y="1159626"/>
                    </a:cubicBezTo>
                    <a:lnTo>
                      <a:pt x="2047056" y="1084250"/>
                    </a:lnTo>
                    <a:cubicBezTo>
                      <a:pt x="2047056" y="1003331"/>
                      <a:pt x="1986681" y="937734"/>
                      <a:pt x="1912204" y="937734"/>
                    </a:cubicBezTo>
                    <a:lnTo>
                      <a:pt x="1887277" y="937734"/>
                    </a:lnTo>
                    <a:cubicBezTo>
                      <a:pt x="1812801" y="937734"/>
                      <a:pt x="1752425" y="1003331"/>
                      <a:pt x="1752425" y="1084250"/>
                    </a:cubicBezTo>
                    <a:lnTo>
                      <a:pt x="1752425" y="1162054"/>
                    </a:lnTo>
                    <a:cubicBezTo>
                      <a:pt x="1769791" y="1169886"/>
                      <a:pt x="1781683" y="1187422"/>
                      <a:pt x="1781683" y="1207734"/>
                    </a:cubicBezTo>
                    <a:cubicBezTo>
                      <a:pt x="1781683" y="1220866"/>
                      <a:pt x="1776712" y="1232838"/>
                      <a:pt x="1768228" y="1241578"/>
                    </a:cubicBezTo>
                    <a:cubicBezTo>
                      <a:pt x="1760023" y="1252796"/>
                      <a:pt x="1747245" y="1259677"/>
                      <a:pt x="1732987" y="1259677"/>
                    </a:cubicBezTo>
                    <a:cubicBezTo>
                      <a:pt x="1726287" y="1259677"/>
                      <a:pt x="1719912" y="1258157"/>
                      <a:pt x="1714189" y="1255317"/>
                    </a:cubicBezTo>
                    <a:cubicBezTo>
                      <a:pt x="1694108" y="1248915"/>
                      <a:pt x="1679828" y="1229993"/>
                      <a:pt x="1679828" y="1207734"/>
                    </a:cubicBezTo>
                    <a:cubicBezTo>
                      <a:pt x="1679828" y="1188615"/>
                      <a:pt x="1690365" y="1171956"/>
                      <a:pt x="1706322" y="1163918"/>
                    </a:cubicBezTo>
                    <a:lnTo>
                      <a:pt x="1706322" y="1060906"/>
                    </a:lnTo>
                    <a:cubicBezTo>
                      <a:pt x="1706322" y="956275"/>
                      <a:pt x="1784391" y="871455"/>
                      <a:pt x="1880693" y="871455"/>
                    </a:cubicBezTo>
                    <a:close/>
                    <a:moveTo>
                      <a:pt x="664345" y="688570"/>
                    </a:moveTo>
                    <a:lnTo>
                      <a:pt x="664345" y="693448"/>
                    </a:lnTo>
                    <a:lnTo>
                      <a:pt x="660939" y="693448"/>
                    </a:lnTo>
                    <a:close/>
                    <a:moveTo>
                      <a:pt x="1233128" y="684844"/>
                    </a:moveTo>
                    <a:lnTo>
                      <a:pt x="1233128" y="693448"/>
                    </a:lnTo>
                    <a:lnTo>
                      <a:pt x="1222123" y="693448"/>
                    </a:lnTo>
                    <a:cubicBezTo>
                      <a:pt x="1226911" y="691905"/>
                      <a:pt x="1230093" y="688451"/>
                      <a:pt x="1233128" y="684844"/>
                    </a:cubicBezTo>
                    <a:close/>
                    <a:moveTo>
                      <a:pt x="211666" y="427166"/>
                    </a:moveTo>
                    <a:lnTo>
                      <a:pt x="444807" y="427166"/>
                    </a:lnTo>
                    <a:cubicBezTo>
                      <a:pt x="400332" y="457918"/>
                      <a:pt x="372872" y="509674"/>
                      <a:pt x="372872" y="567843"/>
                    </a:cubicBezTo>
                    <a:cubicBezTo>
                      <a:pt x="372872" y="667735"/>
                      <a:pt x="453850" y="748713"/>
                      <a:pt x="553742" y="748713"/>
                    </a:cubicBezTo>
                    <a:cubicBezTo>
                      <a:pt x="653634" y="748713"/>
                      <a:pt x="734612" y="667735"/>
                      <a:pt x="734612" y="567843"/>
                    </a:cubicBezTo>
                    <a:cubicBezTo>
                      <a:pt x="734612" y="509674"/>
                      <a:pt x="707152" y="457918"/>
                      <a:pt x="662678" y="427166"/>
                    </a:cubicBezTo>
                    <a:lnTo>
                      <a:pt x="1002490" y="427166"/>
                    </a:lnTo>
                    <a:cubicBezTo>
                      <a:pt x="958015" y="457918"/>
                      <a:pt x="930555" y="509674"/>
                      <a:pt x="930555" y="567843"/>
                    </a:cubicBezTo>
                    <a:cubicBezTo>
                      <a:pt x="930555" y="667735"/>
                      <a:pt x="1011533" y="748713"/>
                      <a:pt x="1111425" y="748713"/>
                    </a:cubicBezTo>
                    <a:cubicBezTo>
                      <a:pt x="1211317" y="748713"/>
                      <a:pt x="1292295" y="667735"/>
                      <a:pt x="1292295" y="567843"/>
                    </a:cubicBezTo>
                    <a:cubicBezTo>
                      <a:pt x="1292295" y="509674"/>
                      <a:pt x="1264835" y="457918"/>
                      <a:pt x="1220361" y="427166"/>
                    </a:cubicBezTo>
                    <a:lnTo>
                      <a:pt x="1477708" y="427166"/>
                    </a:lnTo>
                    <a:cubicBezTo>
                      <a:pt x="1546752" y="427166"/>
                      <a:pt x="1577603" y="478113"/>
                      <a:pt x="1577603" y="547157"/>
                    </a:cubicBezTo>
                    <a:lnTo>
                      <a:pt x="1628646" y="1108061"/>
                    </a:lnTo>
                    <a:lnTo>
                      <a:pt x="1484635" y="1108061"/>
                    </a:lnTo>
                    <a:cubicBezTo>
                      <a:pt x="1440804" y="1108061"/>
                      <a:pt x="1418030" y="1124456"/>
                      <a:pt x="1418030" y="1168288"/>
                    </a:cubicBezTo>
                    <a:cubicBezTo>
                      <a:pt x="1389324" y="1474179"/>
                      <a:pt x="1379756" y="1729040"/>
                      <a:pt x="1351050" y="2063638"/>
                    </a:cubicBezTo>
                    <a:cubicBezTo>
                      <a:pt x="1351050" y="2070102"/>
                      <a:pt x="1350852" y="2076803"/>
                      <a:pt x="1350616" y="2083527"/>
                    </a:cubicBezTo>
                    <a:lnTo>
                      <a:pt x="55916" y="2087573"/>
                    </a:lnTo>
                    <a:cubicBezTo>
                      <a:pt x="-13128" y="2087573"/>
                      <a:pt x="1240" y="2001457"/>
                      <a:pt x="1240" y="1932413"/>
                    </a:cubicBezTo>
                    <a:cubicBezTo>
                      <a:pt x="46457" y="1405347"/>
                      <a:pt x="61530" y="1003884"/>
                      <a:pt x="106748" y="522036"/>
                    </a:cubicBezTo>
                    <a:cubicBezTo>
                      <a:pt x="106748" y="452992"/>
                      <a:pt x="142622" y="427166"/>
                      <a:pt x="211666" y="427166"/>
                    </a:cubicBezTo>
                    <a:close/>
                    <a:moveTo>
                      <a:pt x="806927" y="0"/>
                    </a:moveTo>
                    <a:lnTo>
                      <a:pt x="861350" y="0"/>
                    </a:lnTo>
                    <a:cubicBezTo>
                      <a:pt x="1023966" y="0"/>
                      <a:pt x="1155793" y="143228"/>
                      <a:pt x="1155793" y="319908"/>
                    </a:cubicBezTo>
                    <a:lnTo>
                      <a:pt x="1155793" y="492453"/>
                    </a:lnTo>
                    <a:lnTo>
                      <a:pt x="1168447" y="504482"/>
                    </a:lnTo>
                    <a:cubicBezTo>
                      <a:pt x="1170934" y="505706"/>
                      <a:pt x="1172832" y="507581"/>
                      <a:pt x="1174198" y="509949"/>
                    </a:cubicBezTo>
                    <a:cubicBezTo>
                      <a:pt x="1191235" y="523193"/>
                      <a:pt x="1200328" y="545005"/>
                      <a:pt x="1200328" y="569124"/>
                    </a:cubicBezTo>
                    <a:cubicBezTo>
                      <a:pt x="1200328" y="616858"/>
                      <a:pt x="1164712" y="655554"/>
                      <a:pt x="1120778" y="655554"/>
                    </a:cubicBezTo>
                    <a:lnTo>
                      <a:pt x="1112224" y="653678"/>
                    </a:lnTo>
                    <a:cubicBezTo>
                      <a:pt x="1111959" y="653838"/>
                      <a:pt x="1111692" y="653839"/>
                      <a:pt x="1111425" y="653839"/>
                    </a:cubicBezTo>
                    <a:cubicBezTo>
                      <a:pt x="1063931" y="653839"/>
                      <a:pt x="1025429" y="615337"/>
                      <a:pt x="1025429" y="567843"/>
                    </a:cubicBezTo>
                    <a:cubicBezTo>
                      <a:pt x="1025429" y="528669"/>
                      <a:pt x="1051623" y="495613"/>
                      <a:pt x="1087850" y="486607"/>
                    </a:cubicBezTo>
                    <a:lnTo>
                      <a:pt x="1087850" y="359326"/>
                    </a:lnTo>
                    <a:cubicBezTo>
                      <a:pt x="1087850" y="222687"/>
                      <a:pt x="985899" y="111919"/>
                      <a:pt x="860137" y="111919"/>
                    </a:cubicBezTo>
                    <a:lnTo>
                      <a:pt x="818046" y="111919"/>
                    </a:lnTo>
                    <a:cubicBezTo>
                      <a:pt x="692284" y="111919"/>
                      <a:pt x="590334" y="222687"/>
                      <a:pt x="590334" y="359326"/>
                    </a:cubicBezTo>
                    <a:lnTo>
                      <a:pt x="590334" y="490708"/>
                    </a:lnTo>
                    <a:cubicBezTo>
                      <a:pt x="619657" y="503933"/>
                      <a:pt x="639738" y="533543"/>
                      <a:pt x="639738" y="567843"/>
                    </a:cubicBezTo>
                    <a:cubicBezTo>
                      <a:pt x="639738" y="590018"/>
                      <a:pt x="631345" y="610233"/>
                      <a:pt x="617018" y="624992"/>
                    </a:cubicBezTo>
                    <a:cubicBezTo>
                      <a:pt x="603164" y="643934"/>
                      <a:pt x="581587" y="655554"/>
                      <a:pt x="557511" y="655554"/>
                    </a:cubicBezTo>
                    <a:cubicBezTo>
                      <a:pt x="546196" y="655554"/>
                      <a:pt x="535432" y="652987"/>
                      <a:pt x="525767" y="648191"/>
                    </a:cubicBezTo>
                    <a:cubicBezTo>
                      <a:pt x="491859" y="637382"/>
                      <a:pt x="467746" y="605429"/>
                      <a:pt x="467746" y="567843"/>
                    </a:cubicBezTo>
                    <a:cubicBezTo>
                      <a:pt x="467746" y="535558"/>
                      <a:pt x="485538" y="507427"/>
                      <a:pt x="512484" y="493854"/>
                    </a:cubicBezTo>
                    <a:lnTo>
                      <a:pt x="512484" y="319908"/>
                    </a:lnTo>
                    <a:cubicBezTo>
                      <a:pt x="512484" y="143228"/>
                      <a:pt x="644311" y="0"/>
                      <a:pt x="8069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0" name="SMART BUILDING AUTOMATION"/>
              <p:cNvSpPr>
                <a:spLocks noChangeAspect="1"/>
              </p:cNvSpPr>
              <p:nvPr/>
            </p:nvSpPr>
            <p:spPr bwMode="auto">
              <a:xfrm>
                <a:off x="6914305" y="3405889"/>
                <a:ext cx="290606" cy="327917"/>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1" name="SMART HOME AUTOMATION"/>
              <p:cNvSpPr>
                <a:spLocks noChangeAspect="1"/>
              </p:cNvSpPr>
              <p:nvPr/>
            </p:nvSpPr>
            <p:spPr bwMode="auto">
              <a:xfrm>
                <a:off x="6142810" y="4141917"/>
                <a:ext cx="275253" cy="234875"/>
              </a:xfrm>
              <a:custGeom>
                <a:avLst/>
                <a:gdLst/>
                <a:ahLst/>
                <a:cxnLst/>
                <a:rect l="l" t="t" r="r" b="b"/>
                <a:pathLst>
                  <a:path w="3961748" h="3381467">
                    <a:moveTo>
                      <a:pt x="541147" y="1565297"/>
                    </a:moveTo>
                    <a:lnTo>
                      <a:pt x="3479089" y="1565297"/>
                    </a:lnTo>
                    <a:lnTo>
                      <a:pt x="3479089" y="3381467"/>
                    </a:lnTo>
                    <a:lnTo>
                      <a:pt x="2442856" y="3381467"/>
                    </a:lnTo>
                    <a:lnTo>
                      <a:pt x="2442856" y="2176803"/>
                    </a:lnTo>
                    <a:cubicBezTo>
                      <a:pt x="2442856" y="2097134"/>
                      <a:pt x="2378275" y="2032554"/>
                      <a:pt x="2298607" y="2032554"/>
                    </a:cubicBezTo>
                    <a:lnTo>
                      <a:pt x="1721629" y="2032554"/>
                    </a:lnTo>
                    <a:cubicBezTo>
                      <a:pt x="1641961" y="2032554"/>
                      <a:pt x="1577381" y="2097134"/>
                      <a:pt x="1577381" y="2176803"/>
                    </a:cubicBezTo>
                    <a:lnTo>
                      <a:pt x="1577381" y="3381467"/>
                    </a:lnTo>
                    <a:lnTo>
                      <a:pt x="541147" y="3381467"/>
                    </a:lnTo>
                    <a:close/>
                    <a:moveTo>
                      <a:pt x="2010118" y="719918"/>
                    </a:moveTo>
                    <a:lnTo>
                      <a:pt x="3479089" y="1564763"/>
                    </a:lnTo>
                    <a:lnTo>
                      <a:pt x="541147" y="1564763"/>
                    </a:lnTo>
                    <a:close/>
                    <a:moveTo>
                      <a:pt x="2012261" y="0"/>
                    </a:moveTo>
                    <a:lnTo>
                      <a:pt x="2790841" y="472939"/>
                    </a:lnTo>
                    <a:lnTo>
                      <a:pt x="2790841" y="267921"/>
                    </a:lnTo>
                    <a:lnTo>
                      <a:pt x="3376760" y="267921"/>
                    </a:lnTo>
                    <a:lnTo>
                      <a:pt x="3376760" y="828849"/>
                    </a:lnTo>
                    <a:lnTo>
                      <a:pt x="3856301" y="1120140"/>
                    </a:lnTo>
                    <a:cubicBezTo>
                      <a:pt x="3999811" y="1333500"/>
                      <a:pt x="3979491" y="1501140"/>
                      <a:pt x="3898211" y="1691640"/>
                    </a:cubicBezTo>
                    <a:lnTo>
                      <a:pt x="2035121" y="556260"/>
                    </a:lnTo>
                    <a:lnTo>
                      <a:pt x="57731" y="1687830"/>
                    </a:lnTo>
                    <a:cubicBezTo>
                      <a:pt x="10741" y="1578610"/>
                      <a:pt x="-70539" y="1362710"/>
                      <a:pt x="122501" y="112014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2" name="VEHICLE TRACKING"/>
              <p:cNvSpPr/>
              <p:nvPr/>
            </p:nvSpPr>
            <p:spPr bwMode="auto">
              <a:xfrm>
                <a:off x="2669780" y="4025543"/>
                <a:ext cx="371333" cy="353457"/>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0" name="andriod"/>
          <p:cNvGrpSpPr/>
          <p:nvPr/>
        </p:nvGrpSpPr>
        <p:grpSpPr>
          <a:xfrm>
            <a:off x="4630686" y="5153402"/>
            <a:ext cx="1022413" cy="972061"/>
            <a:chOff x="5392393" y="4336961"/>
            <a:chExt cx="744699" cy="708024"/>
          </a:xfrm>
          <a:solidFill>
            <a:schemeClr val="accent6"/>
          </a:solidFill>
        </p:grpSpPr>
        <p:sp>
          <p:nvSpPr>
            <p:cNvPr id="91" name="Freeform 11"/>
            <p:cNvSpPr>
              <a:spLocks noEditPoints="1"/>
            </p:cNvSpPr>
            <p:nvPr/>
          </p:nvSpPr>
          <p:spPr bwMode="black">
            <a:xfrm>
              <a:off x="5551973" y="4336961"/>
              <a:ext cx="430776" cy="530359"/>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669900"/>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15"/>
            <p:cNvSpPr>
              <a:spLocks noEditPoints="1"/>
            </p:cNvSpPr>
            <p:nvPr/>
          </p:nvSpPr>
          <p:spPr bwMode="black">
            <a:xfrm>
              <a:off x="5392393" y="4939286"/>
              <a:ext cx="744699" cy="105699"/>
            </a:xfrm>
            <a:custGeom>
              <a:avLst/>
              <a:gdLst>
                <a:gd name="T0" fmla="*/ 125 w 1047"/>
                <a:gd name="T1" fmla="*/ 35 h 146"/>
                <a:gd name="T2" fmla="*/ 32 w 1047"/>
                <a:gd name="T3" fmla="*/ 75 h 146"/>
                <a:gd name="T4" fmla="*/ 100 w 1047"/>
                <a:gd name="T5" fmla="*/ 115 h 146"/>
                <a:gd name="T6" fmla="*/ 76 w 1047"/>
                <a:gd name="T7" fmla="*/ 146 h 146"/>
                <a:gd name="T8" fmla="*/ 76 w 1047"/>
                <a:gd name="T9" fmla="*/ 5 h 146"/>
                <a:gd name="T10" fmla="*/ 155 w 1047"/>
                <a:gd name="T11" fmla="*/ 146 h 146"/>
                <a:gd name="T12" fmla="*/ 256 w 1047"/>
                <a:gd name="T13" fmla="*/ 0 h 146"/>
                <a:gd name="T14" fmla="*/ 182 w 1047"/>
                <a:gd name="T15" fmla="*/ 146 h 146"/>
                <a:gd name="T16" fmla="*/ 212 w 1047"/>
                <a:gd name="T17" fmla="*/ 68 h 146"/>
                <a:gd name="T18" fmla="*/ 298 w 1047"/>
                <a:gd name="T19" fmla="*/ 68 h 146"/>
                <a:gd name="T20" fmla="*/ 329 w 1047"/>
                <a:gd name="T21" fmla="*/ 146 h 146"/>
                <a:gd name="T22" fmla="*/ 256 w 1047"/>
                <a:gd name="T23" fmla="*/ 0 h 146"/>
                <a:gd name="T24" fmla="*/ 426 w 1047"/>
                <a:gd name="T25" fmla="*/ 5 h 146"/>
                <a:gd name="T26" fmla="*/ 359 w 1047"/>
                <a:gd name="T27" fmla="*/ 35 h 146"/>
                <a:gd name="T28" fmla="*/ 464 w 1047"/>
                <a:gd name="T29" fmla="*/ 74 h 146"/>
                <a:gd name="T30" fmla="*/ 359 w 1047"/>
                <a:gd name="T31" fmla="*/ 115 h 146"/>
                <a:gd name="T32" fmla="*/ 426 w 1047"/>
                <a:gd name="T33" fmla="*/ 145 h 146"/>
                <a:gd name="T34" fmla="*/ 1047 w 1047"/>
                <a:gd name="T35" fmla="*/ 74 h 146"/>
                <a:gd name="T36" fmla="*/ 913 w 1047"/>
                <a:gd name="T37" fmla="*/ 5 h 146"/>
                <a:gd name="T38" fmla="*/ 982 w 1047"/>
                <a:gd name="T39" fmla="*/ 35 h 146"/>
                <a:gd name="T40" fmla="*/ 981 w 1047"/>
                <a:gd name="T41" fmla="*/ 115 h 146"/>
                <a:gd name="T42" fmla="*/ 913 w 1047"/>
                <a:gd name="T43" fmla="*/ 145 h 146"/>
                <a:gd name="T44" fmla="*/ 1047 w 1047"/>
                <a:gd name="T45" fmla="*/ 74 h 146"/>
                <a:gd name="T46" fmla="*/ 652 w 1047"/>
                <a:gd name="T47" fmla="*/ 56 h 146"/>
                <a:gd name="T48" fmla="*/ 524 w 1047"/>
                <a:gd name="T49" fmla="*/ 5 h 146"/>
                <a:gd name="T50" fmla="*/ 592 w 1047"/>
                <a:gd name="T51" fmla="*/ 35 h 146"/>
                <a:gd name="T52" fmla="*/ 593 w 1047"/>
                <a:gd name="T53" fmla="*/ 77 h 146"/>
                <a:gd name="T54" fmla="*/ 524 w 1047"/>
                <a:gd name="T55" fmla="*/ 105 h 146"/>
                <a:gd name="T56" fmla="*/ 593 w 1047"/>
                <a:gd name="T57" fmla="*/ 105 h 146"/>
                <a:gd name="T58" fmla="*/ 616 w 1047"/>
                <a:gd name="T59" fmla="*/ 144 h 146"/>
                <a:gd name="T60" fmla="*/ 645 w 1047"/>
                <a:gd name="T61" fmla="*/ 146 h 146"/>
                <a:gd name="T62" fmla="*/ 749 w 1047"/>
                <a:gd name="T63" fmla="*/ 1 h 146"/>
                <a:gd name="T64" fmla="*/ 749 w 1047"/>
                <a:gd name="T65" fmla="*/ 146 h 146"/>
                <a:gd name="T66" fmla="*/ 749 w 1047"/>
                <a:gd name="T67" fmla="*/ 1 h 146"/>
                <a:gd name="T68" fmla="*/ 790 w 1047"/>
                <a:gd name="T69" fmla="*/ 73 h 146"/>
                <a:gd name="T70" fmla="*/ 707 w 1047"/>
                <a:gd name="T71" fmla="*/ 73 h 146"/>
                <a:gd name="T72" fmla="*/ 852 w 1047"/>
                <a:gd name="T73" fmla="*/ 146 h 146"/>
                <a:gd name="T74" fmla="*/ 883 w 1047"/>
                <a:gd name="T75" fmla="*/ 5 h 146"/>
                <a:gd name="T76" fmla="*/ 852 w 1047"/>
                <a:gd name="T7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7" h="146">
                  <a:moveTo>
                    <a:pt x="125" y="146"/>
                  </a:moveTo>
                  <a:cubicBezTo>
                    <a:pt x="125" y="35"/>
                    <a:pt x="125" y="35"/>
                    <a:pt x="125" y="35"/>
                  </a:cubicBezTo>
                  <a:cubicBezTo>
                    <a:pt x="75" y="35"/>
                    <a:pt x="75" y="35"/>
                    <a:pt x="75" y="35"/>
                  </a:cubicBezTo>
                  <a:cubicBezTo>
                    <a:pt x="51" y="35"/>
                    <a:pt x="32" y="53"/>
                    <a:pt x="32" y="75"/>
                  </a:cubicBezTo>
                  <a:cubicBezTo>
                    <a:pt x="32" y="98"/>
                    <a:pt x="52" y="115"/>
                    <a:pt x="76" y="115"/>
                  </a:cubicBezTo>
                  <a:cubicBezTo>
                    <a:pt x="100" y="115"/>
                    <a:pt x="100" y="115"/>
                    <a:pt x="100" y="115"/>
                  </a:cubicBezTo>
                  <a:cubicBezTo>
                    <a:pt x="100" y="146"/>
                    <a:pt x="100" y="146"/>
                    <a:pt x="100" y="146"/>
                  </a:cubicBezTo>
                  <a:cubicBezTo>
                    <a:pt x="76" y="146"/>
                    <a:pt x="76" y="146"/>
                    <a:pt x="76" y="146"/>
                  </a:cubicBezTo>
                  <a:cubicBezTo>
                    <a:pt x="34" y="146"/>
                    <a:pt x="0" y="114"/>
                    <a:pt x="0" y="75"/>
                  </a:cubicBezTo>
                  <a:cubicBezTo>
                    <a:pt x="0" y="36"/>
                    <a:pt x="34" y="5"/>
                    <a:pt x="76" y="5"/>
                  </a:cubicBezTo>
                  <a:cubicBezTo>
                    <a:pt x="155" y="5"/>
                    <a:pt x="155" y="5"/>
                    <a:pt x="155" y="5"/>
                  </a:cubicBezTo>
                  <a:cubicBezTo>
                    <a:pt x="155" y="146"/>
                    <a:pt x="155" y="146"/>
                    <a:pt x="155" y="146"/>
                  </a:cubicBezTo>
                  <a:lnTo>
                    <a:pt x="125" y="146"/>
                  </a:lnTo>
                  <a:close/>
                  <a:moveTo>
                    <a:pt x="256" y="0"/>
                  </a:moveTo>
                  <a:cubicBezTo>
                    <a:pt x="215" y="0"/>
                    <a:pt x="182" y="27"/>
                    <a:pt x="182" y="69"/>
                  </a:cubicBezTo>
                  <a:cubicBezTo>
                    <a:pt x="182" y="146"/>
                    <a:pt x="182" y="146"/>
                    <a:pt x="182" y="146"/>
                  </a:cubicBezTo>
                  <a:cubicBezTo>
                    <a:pt x="212" y="146"/>
                    <a:pt x="212" y="146"/>
                    <a:pt x="212" y="146"/>
                  </a:cubicBezTo>
                  <a:cubicBezTo>
                    <a:pt x="212" y="68"/>
                    <a:pt x="212" y="68"/>
                    <a:pt x="212" y="68"/>
                  </a:cubicBezTo>
                  <a:cubicBezTo>
                    <a:pt x="212" y="41"/>
                    <a:pt x="235" y="25"/>
                    <a:pt x="256" y="25"/>
                  </a:cubicBezTo>
                  <a:cubicBezTo>
                    <a:pt x="276" y="25"/>
                    <a:pt x="298" y="41"/>
                    <a:pt x="298" y="68"/>
                  </a:cubicBezTo>
                  <a:cubicBezTo>
                    <a:pt x="298" y="146"/>
                    <a:pt x="298" y="146"/>
                    <a:pt x="298" y="146"/>
                  </a:cubicBezTo>
                  <a:cubicBezTo>
                    <a:pt x="329" y="146"/>
                    <a:pt x="329" y="146"/>
                    <a:pt x="329" y="146"/>
                  </a:cubicBezTo>
                  <a:cubicBezTo>
                    <a:pt x="329" y="69"/>
                    <a:pt x="329" y="69"/>
                    <a:pt x="329" y="69"/>
                  </a:cubicBezTo>
                  <a:cubicBezTo>
                    <a:pt x="329" y="27"/>
                    <a:pt x="296" y="0"/>
                    <a:pt x="256" y="0"/>
                  </a:cubicBezTo>
                  <a:close/>
                  <a:moveTo>
                    <a:pt x="493" y="74"/>
                  </a:moveTo>
                  <a:cubicBezTo>
                    <a:pt x="493" y="34"/>
                    <a:pt x="466" y="5"/>
                    <a:pt x="426" y="5"/>
                  </a:cubicBezTo>
                  <a:cubicBezTo>
                    <a:pt x="359" y="5"/>
                    <a:pt x="359" y="5"/>
                    <a:pt x="359" y="5"/>
                  </a:cubicBezTo>
                  <a:cubicBezTo>
                    <a:pt x="359" y="35"/>
                    <a:pt x="359" y="35"/>
                    <a:pt x="359" y="35"/>
                  </a:cubicBezTo>
                  <a:cubicBezTo>
                    <a:pt x="428" y="35"/>
                    <a:pt x="428" y="35"/>
                    <a:pt x="428" y="35"/>
                  </a:cubicBezTo>
                  <a:cubicBezTo>
                    <a:pt x="454" y="35"/>
                    <a:pt x="464" y="54"/>
                    <a:pt x="464" y="74"/>
                  </a:cubicBezTo>
                  <a:cubicBezTo>
                    <a:pt x="464" y="94"/>
                    <a:pt x="453" y="115"/>
                    <a:pt x="427" y="115"/>
                  </a:cubicBezTo>
                  <a:cubicBezTo>
                    <a:pt x="359" y="115"/>
                    <a:pt x="359" y="115"/>
                    <a:pt x="359" y="115"/>
                  </a:cubicBezTo>
                  <a:cubicBezTo>
                    <a:pt x="359" y="145"/>
                    <a:pt x="359" y="145"/>
                    <a:pt x="359" y="145"/>
                  </a:cubicBezTo>
                  <a:cubicBezTo>
                    <a:pt x="426" y="145"/>
                    <a:pt x="426" y="145"/>
                    <a:pt x="426" y="145"/>
                  </a:cubicBezTo>
                  <a:cubicBezTo>
                    <a:pt x="466" y="145"/>
                    <a:pt x="493" y="115"/>
                    <a:pt x="493" y="74"/>
                  </a:cubicBezTo>
                  <a:close/>
                  <a:moveTo>
                    <a:pt x="1047" y="74"/>
                  </a:moveTo>
                  <a:cubicBezTo>
                    <a:pt x="1047" y="34"/>
                    <a:pt x="1021" y="5"/>
                    <a:pt x="980" y="5"/>
                  </a:cubicBezTo>
                  <a:cubicBezTo>
                    <a:pt x="913" y="5"/>
                    <a:pt x="913" y="5"/>
                    <a:pt x="913" y="5"/>
                  </a:cubicBezTo>
                  <a:cubicBezTo>
                    <a:pt x="913" y="35"/>
                    <a:pt x="913" y="35"/>
                    <a:pt x="913" y="35"/>
                  </a:cubicBezTo>
                  <a:cubicBezTo>
                    <a:pt x="982" y="35"/>
                    <a:pt x="982" y="35"/>
                    <a:pt x="982" y="35"/>
                  </a:cubicBezTo>
                  <a:cubicBezTo>
                    <a:pt x="1008" y="35"/>
                    <a:pt x="1019" y="54"/>
                    <a:pt x="1019" y="74"/>
                  </a:cubicBezTo>
                  <a:cubicBezTo>
                    <a:pt x="1019" y="94"/>
                    <a:pt x="1008" y="115"/>
                    <a:pt x="981" y="115"/>
                  </a:cubicBezTo>
                  <a:cubicBezTo>
                    <a:pt x="913" y="115"/>
                    <a:pt x="913" y="115"/>
                    <a:pt x="913" y="115"/>
                  </a:cubicBezTo>
                  <a:cubicBezTo>
                    <a:pt x="913" y="145"/>
                    <a:pt x="913" y="145"/>
                    <a:pt x="913" y="145"/>
                  </a:cubicBezTo>
                  <a:cubicBezTo>
                    <a:pt x="980" y="145"/>
                    <a:pt x="980" y="145"/>
                    <a:pt x="980" y="145"/>
                  </a:cubicBezTo>
                  <a:cubicBezTo>
                    <a:pt x="1020" y="145"/>
                    <a:pt x="1047" y="115"/>
                    <a:pt x="1047" y="74"/>
                  </a:cubicBezTo>
                  <a:close/>
                  <a:moveTo>
                    <a:pt x="632" y="98"/>
                  </a:moveTo>
                  <a:cubicBezTo>
                    <a:pt x="645" y="91"/>
                    <a:pt x="652" y="78"/>
                    <a:pt x="652" y="56"/>
                  </a:cubicBezTo>
                  <a:cubicBezTo>
                    <a:pt x="652" y="17"/>
                    <a:pt x="631" y="5"/>
                    <a:pt x="590" y="5"/>
                  </a:cubicBezTo>
                  <a:cubicBezTo>
                    <a:pt x="524" y="5"/>
                    <a:pt x="524" y="5"/>
                    <a:pt x="524" y="5"/>
                  </a:cubicBezTo>
                  <a:cubicBezTo>
                    <a:pt x="524" y="35"/>
                    <a:pt x="524" y="35"/>
                    <a:pt x="524" y="35"/>
                  </a:cubicBezTo>
                  <a:cubicBezTo>
                    <a:pt x="592" y="35"/>
                    <a:pt x="592" y="35"/>
                    <a:pt x="592" y="35"/>
                  </a:cubicBezTo>
                  <a:cubicBezTo>
                    <a:pt x="618" y="35"/>
                    <a:pt x="623" y="44"/>
                    <a:pt x="623" y="55"/>
                  </a:cubicBezTo>
                  <a:cubicBezTo>
                    <a:pt x="623" y="67"/>
                    <a:pt x="619" y="77"/>
                    <a:pt x="593" y="77"/>
                  </a:cubicBezTo>
                  <a:cubicBezTo>
                    <a:pt x="524" y="77"/>
                    <a:pt x="524" y="77"/>
                    <a:pt x="524" y="77"/>
                  </a:cubicBezTo>
                  <a:cubicBezTo>
                    <a:pt x="524" y="105"/>
                    <a:pt x="524" y="105"/>
                    <a:pt x="524" y="105"/>
                  </a:cubicBezTo>
                  <a:cubicBezTo>
                    <a:pt x="591" y="105"/>
                    <a:pt x="591" y="105"/>
                    <a:pt x="591" y="105"/>
                  </a:cubicBezTo>
                  <a:cubicBezTo>
                    <a:pt x="592" y="105"/>
                    <a:pt x="593" y="105"/>
                    <a:pt x="593" y="105"/>
                  </a:cubicBezTo>
                  <a:cubicBezTo>
                    <a:pt x="607" y="107"/>
                    <a:pt x="617" y="118"/>
                    <a:pt x="617" y="132"/>
                  </a:cubicBezTo>
                  <a:cubicBezTo>
                    <a:pt x="617" y="136"/>
                    <a:pt x="618" y="140"/>
                    <a:pt x="616" y="144"/>
                  </a:cubicBezTo>
                  <a:cubicBezTo>
                    <a:pt x="616" y="145"/>
                    <a:pt x="618" y="145"/>
                    <a:pt x="618" y="146"/>
                  </a:cubicBezTo>
                  <a:cubicBezTo>
                    <a:pt x="645" y="146"/>
                    <a:pt x="645" y="146"/>
                    <a:pt x="645" y="146"/>
                  </a:cubicBezTo>
                  <a:cubicBezTo>
                    <a:pt x="645" y="146"/>
                    <a:pt x="650" y="116"/>
                    <a:pt x="632" y="98"/>
                  </a:cubicBezTo>
                  <a:close/>
                  <a:moveTo>
                    <a:pt x="749" y="1"/>
                  </a:moveTo>
                  <a:cubicBezTo>
                    <a:pt x="787" y="1"/>
                    <a:pt x="818" y="33"/>
                    <a:pt x="818" y="73"/>
                  </a:cubicBezTo>
                  <a:cubicBezTo>
                    <a:pt x="818" y="113"/>
                    <a:pt x="787" y="146"/>
                    <a:pt x="749" y="146"/>
                  </a:cubicBezTo>
                  <a:cubicBezTo>
                    <a:pt x="710" y="146"/>
                    <a:pt x="679" y="113"/>
                    <a:pt x="679" y="73"/>
                  </a:cubicBezTo>
                  <a:cubicBezTo>
                    <a:pt x="679" y="33"/>
                    <a:pt x="710" y="1"/>
                    <a:pt x="749" y="1"/>
                  </a:cubicBezTo>
                  <a:close/>
                  <a:moveTo>
                    <a:pt x="749" y="117"/>
                  </a:moveTo>
                  <a:cubicBezTo>
                    <a:pt x="772" y="117"/>
                    <a:pt x="790" y="97"/>
                    <a:pt x="790" y="73"/>
                  </a:cubicBezTo>
                  <a:cubicBezTo>
                    <a:pt x="790" y="49"/>
                    <a:pt x="772" y="30"/>
                    <a:pt x="749" y="30"/>
                  </a:cubicBezTo>
                  <a:cubicBezTo>
                    <a:pt x="726" y="30"/>
                    <a:pt x="707" y="49"/>
                    <a:pt x="707" y="73"/>
                  </a:cubicBezTo>
                  <a:cubicBezTo>
                    <a:pt x="707" y="97"/>
                    <a:pt x="726" y="117"/>
                    <a:pt x="749" y="117"/>
                  </a:cubicBezTo>
                  <a:close/>
                  <a:moveTo>
                    <a:pt x="852" y="146"/>
                  </a:moveTo>
                  <a:cubicBezTo>
                    <a:pt x="883" y="146"/>
                    <a:pt x="883" y="146"/>
                    <a:pt x="883" y="146"/>
                  </a:cubicBezTo>
                  <a:cubicBezTo>
                    <a:pt x="883" y="5"/>
                    <a:pt x="883" y="5"/>
                    <a:pt x="883" y="5"/>
                  </a:cubicBezTo>
                  <a:cubicBezTo>
                    <a:pt x="852" y="5"/>
                    <a:pt x="852" y="5"/>
                    <a:pt x="852" y="5"/>
                  </a:cubicBezTo>
                  <a:lnTo>
                    <a:pt x="852" y="14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pic>
        <p:nvPicPr>
          <p:cNvPr id="93" name="Picture 9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8669" y="2122433"/>
            <a:ext cx="1369012" cy="1026759"/>
          </a:xfrm>
          <a:prstGeom prst="rect">
            <a:avLst/>
          </a:prstGeom>
        </p:spPr>
      </p:pic>
      <p:pic>
        <p:nvPicPr>
          <p:cNvPr id="94" name="io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21382" y="5257908"/>
            <a:ext cx="1211336" cy="623635"/>
          </a:xfrm>
          <a:prstGeom prst="rect">
            <a:avLst/>
          </a:prstGeom>
        </p:spPr>
      </p:pic>
      <p:sp>
        <p:nvSpPr>
          <p:cNvPr id="95" name="windows"/>
          <p:cNvSpPr>
            <a:spLocks noChangeAspect="1" noEditPoints="1"/>
          </p:cNvSpPr>
          <p:nvPr/>
        </p:nvSpPr>
        <p:spPr bwMode="black">
          <a:xfrm>
            <a:off x="3745518" y="2472495"/>
            <a:ext cx="2178305" cy="485937"/>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Title 1"/>
          <p:cNvSpPr>
            <a:spLocks noGrp="1"/>
          </p:cNvSpPr>
          <p:nvPr>
            <p:ph type="title"/>
          </p:nvPr>
        </p:nvSpPr>
        <p:spPr>
          <a:xfrm>
            <a:off x="0" y="0"/>
            <a:ext cx="11656706" cy="628788"/>
          </a:xfrm>
        </p:spPr>
        <p:txBody>
          <a:bodyPr>
            <a:noAutofit/>
          </a:bodyPr>
          <a:lstStyle/>
          <a:p>
            <a:r>
              <a:rPr lang="en-US" sz="4400" dirty="0" smtClean="0"/>
              <a:t>Azure IoT Suite</a:t>
            </a:r>
            <a:endParaRPr lang="en-US" sz="4400" dirty="0"/>
          </a:p>
        </p:txBody>
      </p:sp>
      <p:grpSp>
        <p:nvGrpSpPr>
          <p:cNvPr id="84" name="Group 83"/>
          <p:cNvGrpSpPr/>
          <p:nvPr/>
        </p:nvGrpSpPr>
        <p:grpSpPr>
          <a:xfrm>
            <a:off x="834941" y="4283959"/>
            <a:ext cx="2298318" cy="1005840"/>
            <a:chOff x="834941" y="2145937"/>
            <a:chExt cx="2298318" cy="1005840"/>
          </a:xfrm>
          <a:noFill/>
        </p:grpSpPr>
        <p:sp>
          <p:nvSpPr>
            <p:cNvPr id="86" name="Rectangle 85"/>
            <p:cNvSpPr/>
            <p:nvPr/>
          </p:nvSpPr>
          <p:spPr>
            <a:xfrm>
              <a:off x="834941" y="2145937"/>
              <a:ext cx="2298318" cy="1005840"/>
            </a:xfrm>
            <a:prstGeom prst="rect">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Predictive Maintenance</a:t>
              </a:r>
              <a:endParaRPr lang="en-US" sz="2000" dirty="0">
                <a:latin typeface="+mj-lt"/>
                <a:cs typeface="Segoe UI Light" panose="020B0502040204020203" pitchFamily="34" charset="0"/>
              </a:endParaRPr>
            </a:p>
          </p:txBody>
        </p:sp>
        <p:grpSp>
          <p:nvGrpSpPr>
            <p:cNvPr id="87" name="Group 86"/>
            <p:cNvGrpSpPr/>
            <p:nvPr/>
          </p:nvGrpSpPr>
          <p:grpSpPr>
            <a:xfrm>
              <a:off x="2438255" y="2261365"/>
              <a:ext cx="625795" cy="518026"/>
              <a:chOff x="16659225" y="-4403725"/>
              <a:chExt cx="3724275" cy="3082925"/>
            </a:xfrm>
            <a:grpFill/>
          </p:grpSpPr>
          <p:sp>
            <p:nvSpPr>
              <p:cNvPr id="88"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w="9525">
                <a:solidFill>
                  <a:schemeClr val="accent1">
                    <a:lumMod val="60000"/>
                    <a:lumOff val="40000"/>
                  </a:schemeClr>
                </a:solidFill>
                <a:round/>
                <a:headEnd/>
                <a:tailEnd/>
              </a:ln>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latin typeface="+mj-lt"/>
                </a:endParaRPr>
              </a:p>
            </p:txBody>
          </p:sp>
          <p:sp>
            <p:nvSpPr>
              <p:cNvPr id="89" name="Oval 29"/>
              <p:cNvSpPr>
                <a:spLocks noChangeArrowheads="1"/>
              </p:cNvSpPr>
              <p:nvPr/>
            </p:nvSpPr>
            <p:spPr bwMode="auto">
              <a:xfrm>
                <a:off x="18103850" y="-4403725"/>
                <a:ext cx="508000" cy="508000"/>
              </a:xfrm>
              <a:prstGeom prst="ellipse">
                <a:avLst/>
              </a:prstGeom>
              <a:grpFill/>
              <a:ln w="9525">
                <a:solidFill>
                  <a:schemeClr val="accent1">
                    <a:lumMod val="60000"/>
                    <a:lumOff val="40000"/>
                  </a:schemeClr>
                </a:solidFill>
                <a:round/>
                <a:headEnd/>
                <a:tailEnd/>
              </a:ln>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latin typeface="+mj-lt"/>
                </a:endParaRPr>
              </a:p>
            </p:txBody>
          </p:sp>
        </p:grpSp>
      </p:grpSp>
      <p:grpSp>
        <p:nvGrpSpPr>
          <p:cNvPr id="96" name="Group 95"/>
          <p:cNvGrpSpPr/>
          <p:nvPr/>
        </p:nvGrpSpPr>
        <p:grpSpPr>
          <a:xfrm>
            <a:off x="834941" y="3212127"/>
            <a:ext cx="2298318" cy="1005840"/>
            <a:chOff x="834941" y="3212127"/>
            <a:chExt cx="2298318" cy="1005840"/>
          </a:xfrm>
          <a:noFill/>
        </p:grpSpPr>
        <p:sp>
          <p:nvSpPr>
            <p:cNvPr id="97" name="Rectangle 96"/>
            <p:cNvSpPr/>
            <p:nvPr/>
          </p:nvSpPr>
          <p:spPr>
            <a:xfrm>
              <a:off x="834941" y="3212127"/>
              <a:ext cx="2298318" cy="1005840"/>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Asset </a:t>
              </a:r>
            </a:p>
            <a:p>
              <a:pPr>
                <a:lnSpc>
                  <a:spcPct val="90000"/>
                </a:lnSpc>
              </a:pPr>
              <a:r>
                <a:rPr lang="en-US" sz="2000" dirty="0" smtClean="0">
                  <a:latin typeface="+mj-lt"/>
                  <a:cs typeface="Segoe UI Light" panose="020B0502040204020203" pitchFamily="34" charset="0"/>
                </a:rPr>
                <a:t>Management</a:t>
              </a:r>
              <a:endParaRPr lang="en-US" sz="2000" dirty="0">
                <a:latin typeface="+mj-lt"/>
                <a:cs typeface="Segoe UI Light" panose="020B0502040204020203" pitchFamily="34" charset="0"/>
              </a:endParaRPr>
            </a:p>
          </p:txBody>
        </p:sp>
        <p:sp>
          <p:nvSpPr>
            <p:cNvPr id="98" name="Freeform 97"/>
            <p:cNvSpPr>
              <a:spLocks noChangeAspect="1"/>
            </p:cNvSpPr>
            <p:nvPr/>
          </p:nvSpPr>
          <p:spPr bwMode="auto">
            <a:xfrm>
              <a:off x="2677822" y="3321183"/>
              <a:ext cx="329494" cy="757252"/>
            </a:xfrm>
            <a:custGeom>
              <a:avLst/>
              <a:gdLst>
                <a:gd name="connsiteX0" fmla="*/ 645069 w 1199490"/>
                <a:gd name="connsiteY0" fmla="*/ 2353290 h 2756708"/>
                <a:gd name="connsiteX1" fmla="*/ 645069 w 1199490"/>
                <a:gd name="connsiteY1" fmla="*/ 2473092 h 2756708"/>
                <a:gd name="connsiteX2" fmla="*/ 883395 w 1199490"/>
                <a:gd name="connsiteY2" fmla="*/ 2473092 h 2756708"/>
                <a:gd name="connsiteX3" fmla="*/ 552457 w 1199490"/>
                <a:gd name="connsiteY3" fmla="*/ 2345158 h 2756708"/>
                <a:gd name="connsiteX4" fmla="*/ 297954 w 1199490"/>
                <a:gd name="connsiteY4" fmla="*/ 2473092 h 2756708"/>
                <a:gd name="connsiteX5" fmla="*/ 552457 w 1199490"/>
                <a:gd name="connsiteY5" fmla="*/ 2473092 h 2756708"/>
                <a:gd name="connsiteX6" fmla="*/ 911942 w 1199490"/>
                <a:gd name="connsiteY6" fmla="*/ 2164451 h 2756708"/>
                <a:gd name="connsiteX7" fmla="*/ 664117 w 1199490"/>
                <a:gd name="connsiteY7" fmla="*/ 2289029 h 2756708"/>
                <a:gd name="connsiteX8" fmla="*/ 949348 w 1199490"/>
                <a:gd name="connsiteY8" fmla="*/ 2432409 h 2756708"/>
                <a:gd name="connsiteX9" fmla="*/ 266628 w 1199490"/>
                <a:gd name="connsiteY9" fmla="*/ 2163054 h 2756708"/>
                <a:gd name="connsiteX10" fmla="*/ 228802 w 1199490"/>
                <a:gd name="connsiteY10" fmla="*/ 2434018 h 2756708"/>
                <a:gd name="connsiteX11" fmla="*/ 517232 w 1199490"/>
                <a:gd name="connsiteY11" fmla="*/ 2289029 h 2756708"/>
                <a:gd name="connsiteX12" fmla="*/ 645069 w 1199490"/>
                <a:gd name="connsiteY12" fmla="*/ 2114420 h 2756708"/>
                <a:gd name="connsiteX13" fmla="*/ 645069 w 1199490"/>
                <a:gd name="connsiteY13" fmla="*/ 2224768 h 2756708"/>
                <a:gd name="connsiteX14" fmla="*/ 864586 w 1199490"/>
                <a:gd name="connsiteY14" fmla="*/ 2114420 h 2756708"/>
                <a:gd name="connsiteX15" fmla="*/ 316763 w 1199490"/>
                <a:gd name="connsiteY15" fmla="*/ 2114420 h 2756708"/>
                <a:gd name="connsiteX16" fmla="*/ 552457 w 1199490"/>
                <a:gd name="connsiteY16" fmla="*/ 2232899 h 2756708"/>
                <a:gd name="connsiteX17" fmla="*/ 552457 w 1199490"/>
                <a:gd name="connsiteY17" fmla="*/ 2114420 h 2756708"/>
                <a:gd name="connsiteX18" fmla="*/ 645069 w 1199490"/>
                <a:gd name="connsiteY18" fmla="*/ 1853542 h 2756708"/>
                <a:gd name="connsiteX19" fmla="*/ 645069 w 1199490"/>
                <a:gd name="connsiteY19" fmla="*/ 1974167 h 2756708"/>
                <a:gd name="connsiteX20" fmla="*/ 841112 w 1199490"/>
                <a:gd name="connsiteY20" fmla="*/ 1974167 h 2756708"/>
                <a:gd name="connsiteX21" fmla="*/ 552457 w 1199490"/>
                <a:gd name="connsiteY21" fmla="*/ 1851097 h 2756708"/>
                <a:gd name="connsiteX22" fmla="*/ 352440 w 1199490"/>
                <a:gd name="connsiteY22" fmla="*/ 1974167 h 2756708"/>
                <a:gd name="connsiteX23" fmla="*/ 552457 w 1199490"/>
                <a:gd name="connsiteY23" fmla="*/ 1974167 h 2756708"/>
                <a:gd name="connsiteX24" fmla="*/ 843223 w 1199490"/>
                <a:gd name="connsiteY24" fmla="*/ 1672188 h 2756708"/>
                <a:gd name="connsiteX25" fmla="*/ 645069 w 1199490"/>
                <a:gd name="connsiteY25" fmla="*/ 1794113 h 2756708"/>
                <a:gd name="connsiteX26" fmla="*/ 645069 w 1199490"/>
                <a:gd name="connsiteY26" fmla="*/ 1795132 h 2756708"/>
                <a:gd name="connsiteX27" fmla="*/ 880619 w 1199490"/>
                <a:gd name="connsiteY27" fmla="*/ 1940066 h 2756708"/>
                <a:gd name="connsiteX28" fmla="*/ 336351 w 1199490"/>
                <a:gd name="connsiteY28" fmla="*/ 1663588 h 2756708"/>
                <a:gd name="connsiteX29" fmla="*/ 296329 w 1199490"/>
                <a:gd name="connsiteY29" fmla="*/ 1950283 h 2756708"/>
                <a:gd name="connsiteX30" fmla="*/ 549312 w 1199490"/>
                <a:gd name="connsiteY30" fmla="*/ 1794622 h 2756708"/>
                <a:gd name="connsiteX31" fmla="*/ 645069 w 1199490"/>
                <a:gd name="connsiteY31" fmla="*/ 1650996 h 2756708"/>
                <a:gd name="connsiteX32" fmla="*/ 645069 w 1199490"/>
                <a:gd name="connsiteY32" fmla="*/ 1735703 h 2756708"/>
                <a:gd name="connsiteX33" fmla="*/ 782736 w 1199490"/>
                <a:gd name="connsiteY33" fmla="*/ 1650996 h 2756708"/>
                <a:gd name="connsiteX34" fmla="*/ 410816 w 1199490"/>
                <a:gd name="connsiteY34" fmla="*/ 1650996 h 2756708"/>
                <a:gd name="connsiteX35" fmla="*/ 552457 w 1199490"/>
                <a:gd name="connsiteY35" fmla="*/ 1738148 h 2756708"/>
                <a:gd name="connsiteX36" fmla="*/ 552457 w 1199490"/>
                <a:gd name="connsiteY36" fmla="*/ 1650996 h 2756708"/>
                <a:gd name="connsiteX37" fmla="*/ 645069 w 1199490"/>
                <a:gd name="connsiteY37" fmla="*/ 1466110 h 2756708"/>
                <a:gd name="connsiteX38" fmla="*/ 645069 w 1199490"/>
                <a:gd name="connsiteY38" fmla="*/ 1549258 h 2756708"/>
                <a:gd name="connsiteX39" fmla="*/ 754966 w 1199490"/>
                <a:gd name="connsiteY39" fmla="*/ 1549258 h 2756708"/>
                <a:gd name="connsiteX40" fmla="*/ 552457 w 1199490"/>
                <a:gd name="connsiteY40" fmla="*/ 1464303 h 2756708"/>
                <a:gd name="connsiteX41" fmla="*/ 440172 w 1199490"/>
                <a:gd name="connsiteY41" fmla="*/ 1549258 h 2756708"/>
                <a:gd name="connsiteX42" fmla="*/ 552457 w 1199490"/>
                <a:gd name="connsiteY42" fmla="*/ 1549258 h 2756708"/>
                <a:gd name="connsiteX43" fmla="*/ 789199 w 1199490"/>
                <a:gd name="connsiteY43" fmla="*/ 1285183 h 2756708"/>
                <a:gd name="connsiteX44" fmla="*/ 645069 w 1199490"/>
                <a:gd name="connsiteY44" fmla="*/ 1394233 h 2756708"/>
                <a:gd name="connsiteX45" fmla="*/ 645069 w 1199490"/>
                <a:gd name="connsiteY45" fmla="*/ 1395476 h 2756708"/>
                <a:gd name="connsiteX46" fmla="*/ 823435 w 1199490"/>
                <a:gd name="connsiteY46" fmla="*/ 1530428 h 2756708"/>
                <a:gd name="connsiteX47" fmla="*/ 390777 w 1199490"/>
                <a:gd name="connsiteY47" fmla="*/ 1273712 h 2756708"/>
                <a:gd name="connsiteX48" fmla="*/ 352960 w 1199490"/>
                <a:gd name="connsiteY48" fmla="*/ 1544609 h 2756708"/>
                <a:gd name="connsiteX49" fmla="*/ 550891 w 1199490"/>
                <a:gd name="connsiteY49" fmla="*/ 1394854 h 2756708"/>
                <a:gd name="connsiteX50" fmla="*/ 645069 w 1199490"/>
                <a:gd name="connsiteY50" fmla="*/ 1254564 h 2756708"/>
                <a:gd name="connsiteX51" fmla="*/ 645069 w 1199490"/>
                <a:gd name="connsiteY51" fmla="*/ 1323599 h 2756708"/>
                <a:gd name="connsiteX52" fmla="*/ 736312 w 1199490"/>
                <a:gd name="connsiteY52" fmla="*/ 1254564 h 2756708"/>
                <a:gd name="connsiteX53" fmla="*/ 458826 w 1199490"/>
                <a:gd name="connsiteY53" fmla="*/ 1254564 h 2756708"/>
                <a:gd name="connsiteX54" fmla="*/ 552457 w 1199490"/>
                <a:gd name="connsiteY54" fmla="*/ 1325406 h 2756708"/>
                <a:gd name="connsiteX55" fmla="*/ 552457 w 1199490"/>
                <a:gd name="connsiteY55" fmla="*/ 1254564 h 2756708"/>
                <a:gd name="connsiteX56" fmla="*/ 645069 w 1199490"/>
                <a:gd name="connsiteY56" fmla="*/ 934208 h 2756708"/>
                <a:gd name="connsiteX57" fmla="*/ 645069 w 1199490"/>
                <a:gd name="connsiteY57" fmla="*/ 1152826 h 2756708"/>
                <a:gd name="connsiteX58" fmla="*/ 770722 w 1199490"/>
                <a:gd name="connsiteY58" fmla="*/ 1152826 h 2756708"/>
                <a:gd name="connsiteX59" fmla="*/ 740204 w 1199490"/>
                <a:gd name="connsiteY59" fmla="*/ 934208 h 2756708"/>
                <a:gd name="connsiteX60" fmla="*/ 438170 w 1199490"/>
                <a:gd name="connsiteY60" fmla="*/ 934208 h 2756708"/>
                <a:gd name="connsiteX61" fmla="*/ 407652 w 1199490"/>
                <a:gd name="connsiteY61" fmla="*/ 1152826 h 2756708"/>
                <a:gd name="connsiteX62" fmla="*/ 552457 w 1199490"/>
                <a:gd name="connsiteY62" fmla="*/ 1152826 h 2756708"/>
                <a:gd name="connsiteX63" fmla="*/ 552457 w 1199490"/>
                <a:gd name="connsiteY63" fmla="*/ 934208 h 2756708"/>
                <a:gd name="connsiteX64" fmla="*/ 143156 w 1199490"/>
                <a:gd name="connsiteY64" fmla="*/ 387286 h 2756708"/>
                <a:gd name="connsiteX65" fmla="*/ 280538 w 1199490"/>
                <a:gd name="connsiteY65" fmla="*/ 415367 h 2756708"/>
                <a:gd name="connsiteX66" fmla="*/ 362376 w 1199490"/>
                <a:gd name="connsiteY66" fmla="*/ 455184 h 2756708"/>
                <a:gd name="connsiteX67" fmla="*/ 185635 w 1199490"/>
                <a:gd name="connsiteY67" fmla="*/ 451000 h 2756708"/>
                <a:gd name="connsiteX68" fmla="*/ 143156 w 1199490"/>
                <a:gd name="connsiteY68" fmla="*/ 387286 h 2756708"/>
                <a:gd name="connsiteX69" fmla="*/ 1036102 w 1199490"/>
                <a:gd name="connsiteY69" fmla="*/ 385736 h 2756708"/>
                <a:gd name="connsiteX70" fmla="*/ 994813 w 1199490"/>
                <a:gd name="connsiteY70" fmla="*/ 450228 h 2756708"/>
                <a:gd name="connsiteX71" fmla="*/ 818181 w 1199490"/>
                <a:gd name="connsiteY71" fmla="*/ 457691 h 2756708"/>
                <a:gd name="connsiteX72" fmla="*/ 899265 w 1199490"/>
                <a:gd name="connsiteY72" fmla="*/ 416362 h 2756708"/>
                <a:gd name="connsiteX73" fmla="*/ 1036102 w 1199490"/>
                <a:gd name="connsiteY73" fmla="*/ 385736 h 2756708"/>
                <a:gd name="connsiteX74" fmla="*/ 549850 w 1199490"/>
                <a:gd name="connsiteY74" fmla="*/ 8374 h 2756708"/>
                <a:gd name="connsiteX75" fmla="*/ 598315 w 1199490"/>
                <a:gd name="connsiteY75" fmla="*/ 50238 h 2756708"/>
                <a:gd name="connsiteX76" fmla="*/ 609432 w 1199490"/>
                <a:gd name="connsiteY76" fmla="*/ 194763 h 2756708"/>
                <a:gd name="connsiteX77" fmla="*/ 598315 w 1199490"/>
                <a:gd name="connsiteY77" fmla="*/ 285091 h 2756708"/>
                <a:gd name="connsiteX78" fmla="*/ 539949 w 1199490"/>
                <a:gd name="connsiteY78" fmla="*/ 94707 h 2756708"/>
                <a:gd name="connsiteX79" fmla="*/ 549850 w 1199490"/>
                <a:gd name="connsiteY79" fmla="*/ 8374 h 2756708"/>
                <a:gd name="connsiteX80" fmla="*/ 894240 w 1199490"/>
                <a:gd name="connsiteY80" fmla="*/ 6 h 2756708"/>
                <a:gd name="connsiteX81" fmla="*/ 907797 w 1199490"/>
                <a:gd name="connsiteY81" fmla="*/ 58572 h 2756708"/>
                <a:gd name="connsiteX82" fmla="*/ 683546 w 1199490"/>
                <a:gd name="connsiteY82" fmla="*/ 320849 h 2756708"/>
                <a:gd name="connsiteX83" fmla="*/ 1021833 w 1199490"/>
                <a:gd name="connsiteY83" fmla="*/ 69131 h 2756708"/>
                <a:gd name="connsiteX84" fmla="*/ 1114751 w 1199490"/>
                <a:gd name="connsiteY84" fmla="*/ 124037 h 2756708"/>
                <a:gd name="connsiteX85" fmla="*/ 775630 w 1199490"/>
                <a:gd name="connsiteY85" fmla="*/ 321711 h 2756708"/>
                <a:gd name="connsiteX86" fmla="*/ 974110 w 1199490"/>
                <a:gd name="connsiteY86" fmla="*/ 236264 h 2756708"/>
                <a:gd name="connsiteX87" fmla="*/ 1025619 w 1199490"/>
                <a:gd name="connsiteY87" fmla="*/ 253633 h 2756708"/>
                <a:gd name="connsiteX88" fmla="*/ 785096 w 1199490"/>
                <a:gd name="connsiteY88" fmla="*/ 394236 h 2756708"/>
                <a:gd name="connsiteX89" fmla="*/ 1117530 w 1199490"/>
                <a:gd name="connsiteY89" fmla="*/ 312762 h 2756708"/>
                <a:gd name="connsiteX90" fmla="*/ 1193009 w 1199490"/>
                <a:gd name="connsiteY90" fmla="*/ 339548 h 2756708"/>
                <a:gd name="connsiteX91" fmla="*/ 738855 w 1199490"/>
                <a:gd name="connsiteY91" fmla="*/ 499934 h 2756708"/>
                <a:gd name="connsiteX92" fmla="*/ 1026057 w 1199490"/>
                <a:gd name="connsiteY92" fmla="*/ 516828 h 2756708"/>
                <a:gd name="connsiteX93" fmla="*/ 1011941 w 1199490"/>
                <a:gd name="connsiteY93" fmla="*/ 567292 h 2756708"/>
                <a:gd name="connsiteX94" fmla="*/ 772534 w 1199490"/>
                <a:gd name="connsiteY94" fmla="*/ 529389 h 2756708"/>
                <a:gd name="connsiteX95" fmla="*/ 719072 w 1199490"/>
                <a:gd name="connsiteY95" fmla="*/ 544948 h 2756708"/>
                <a:gd name="connsiteX96" fmla="*/ 626371 w 1199490"/>
                <a:gd name="connsiteY96" fmla="*/ 619529 h 2756708"/>
                <a:gd name="connsiteX97" fmla="*/ 628545 w 1199490"/>
                <a:gd name="connsiteY97" fmla="*/ 685509 h 2756708"/>
                <a:gd name="connsiteX98" fmla="*/ 666931 w 1199490"/>
                <a:gd name="connsiteY98" fmla="*/ 685509 h 2756708"/>
                <a:gd name="connsiteX99" fmla="*/ 666931 w 1199490"/>
                <a:gd name="connsiteY99" fmla="*/ 735066 h 2756708"/>
                <a:gd name="connsiteX100" fmla="*/ 772814 w 1199490"/>
                <a:gd name="connsiteY100" fmla="*/ 735066 h 2756708"/>
                <a:gd name="connsiteX101" fmla="*/ 832829 w 1199490"/>
                <a:gd name="connsiteY101" fmla="*/ 1152826 h 2756708"/>
                <a:gd name="connsiteX102" fmla="*/ 895393 w 1199490"/>
                <a:gd name="connsiteY102" fmla="*/ 1152826 h 2756708"/>
                <a:gd name="connsiteX103" fmla="*/ 895393 w 1199490"/>
                <a:gd name="connsiteY103" fmla="*/ 1254564 h 2756708"/>
                <a:gd name="connsiteX104" fmla="*/ 847444 w 1199490"/>
                <a:gd name="connsiteY104" fmla="*/ 1254564 h 2756708"/>
                <a:gd name="connsiteX105" fmla="*/ 950821 w 1199490"/>
                <a:gd name="connsiteY105" fmla="*/ 1974167 h 2756708"/>
                <a:gd name="connsiteX106" fmla="*/ 1026324 w 1199490"/>
                <a:gd name="connsiteY106" fmla="*/ 1974167 h 2756708"/>
                <a:gd name="connsiteX107" fmla="*/ 1026324 w 1199490"/>
                <a:gd name="connsiteY107" fmla="*/ 2114420 h 2756708"/>
                <a:gd name="connsiteX108" fmla="*/ 970970 w 1199490"/>
                <a:gd name="connsiteY108" fmla="*/ 2114420 h 2756708"/>
                <a:gd name="connsiteX109" fmla="*/ 973214 w 1199490"/>
                <a:gd name="connsiteY109" fmla="*/ 2130041 h 2756708"/>
                <a:gd name="connsiteX110" fmla="*/ 974663 w 1199490"/>
                <a:gd name="connsiteY110" fmla="*/ 2132923 h 2756708"/>
                <a:gd name="connsiteX111" fmla="*/ 973698 w 1199490"/>
                <a:gd name="connsiteY111" fmla="*/ 2133408 h 2756708"/>
                <a:gd name="connsiteX112" fmla="*/ 1021890 w 1199490"/>
                <a:gd name="connsiteY112" fmla="*/ 2468875 h 2756708"/>
                <a:gd name="connsiteX113" fmla="*/ 1026389 w 1199490"/>
                <a:gd name="connsiteY113" fmla="*/ 2471136 h 2756708"/>
                <a:gd name="connsiteX114" fmla="*/ 1025406 w 1199490"/>
                <a:gd name="connsiteY114" fmla="*/ 2473092 h 2756708"/>
                <a:gd name="connsiteX115" fmla="*/ 1199490 w 1199490"/>
                <a:gd name="connsiteY115" fmla="*/ 2473092 h 2756708"/>
                <a:gd name="connsiteX116" fmla="*/ 1199490 w 1199490"/>
                <a:gd name="connsiteY116" fmla="*/ 2756708 h 2756708"/>
                <a:gd name="connsiteX117" fmla="*/ 0 w 1199490"/>
                <a:gd name="connsiteY117" fmla="*/ 2756708 h 2756708"/>
                <a:gd name="connsiteX118" fmla="*/ 0 w 1199490"/>
                <a:gd name="connsiteY118" fmla="*/ 2473092 h 2756708"/>
                <a:gd name="connsiteX119" fmla="*/ 172772 w 1199490"/>
                <a:gd name="connsiteY119" fmla="*/ 2473092 h 2756708"/>
                <a:gd name="connsiteX120" fmla="*/ 224299 w 1199490"/>
                <a:gd name="connsiteY120" fmla="*/ 2114420 h 2756708"/>
                <a:gd name="connsiteX121" fmla="*/ 168942 w 1199490"/>
                <a:gd name="connsiteY121" fmla="*/ 2114420 h 2756708"/>
                <a:gd name="connsiteX122" fmla="*/ 168942 w 1199490"/>
                <a:gd name="connsiteY122" fmla="*/ 1974167 h 2756708"/>
                <a:gd name="connsiteX123" fmla="*/ 244447 w 1199490"/>
                <a:gd name="connsiteY123" fmla="*/ 1974167 h 2756708"/>
                <a:gd name="connsiteX124" fmla="*/ 347824 w 1199490"/>
                <a:gd name="connsiteY124" fmla="*/ 1254564 h 2756708"/>
                <a:gd name="connsiteX125" fmla="*/ 291424 w 1199490"/>
                <a:gd name="connsiteY125" fmla="*/ 1254564 h 2756708"/>
                <a:gd name="connsiteX126" fmla="*/ 291424 w 1199490"/>
                <a:gd name="connsiteY126" fmla="*/ 1152826 h 2756708"/>
                <a:gd name="connsiteX127" fmla="*/ 362439 w 1199490"/>
                <a:gd name="connsiteY127" fmla="*/ 1152826 h 2756708"/>
                <a:gd name="connsiteX128" fmla="*/ 422454 w 1199490"/>
                <a:gd name="connsiteY128" fmla="*/ 735066 h 2756708"/>
                <a:gd name="connsiteX129" fmla="*/ 525327 w 1199490"/>
                <a:gd name="connsiteY129" fmla="*/ 735066 h 2756708"/>
                <a:gd name="connsiteX130" fmla="*/ 525327 w 1199490"/>
                <a:gd name="connsiteY130" fmla="*/ 685509 h 2756708"/>
                <a:gd name="connsiteX131" fmla="*/ 567675 w 1199490"/>
                <a:gd name="connsiteY131" fmla="*/ 685509 h 2756708"/>
                <a:gd name="connsiteX132" fmla="*/ 565798 w 1199490"/>
                <a:gd name="connsiteY132" fmla="*/ 628739 h 2756708"/>
                <a:gd name="connsiteX133" fmla="*/ 458874 w 1199490"/>
                <a:gd name="connsiteY133" fmla="*/ 540725 h 2756708"/>
                <a:gd name="connsiteX134" fmla="*/ 121355 w 1199490"/>
                <a:gd name="connsiteY134" fmla="*/ 569636 h 2756708"/>
                <a:gd name="connsiteX135" fmla="*/ 464324 w 1199490"/>
                <a:gd name="connsiteY135" fmla="*/ 489375 h 2756708"/>
                <a:gd name="connsiteX136" fmla="*/ 50415 w 1199490"/>
                <a:gd name="connsiteY136" fmla="*/ 337327 h 2756708"/>
                <a:gd name="connsiteX137" fmla="*/ 92651 w 1199490"/>
                <a:gd name="connsiteY137" fmla="*/ 307762 h 2756708"/>
                <a:gd name="connsiteX138" fmla="*/ 430535 w 1199490"/>
                <a:gd name="connsiteY138" fmla="*/ 388009 h 2756708"/>
                <a:gd name="connsiteX139" fmla="*/ 193586 w 1199490"/>
                <a:gd name="connsiteY139" fmla="*/ 264693 h 2756708"/>
                <a:gd name="connsiteX140" fmla="*/ 219357 w 1199490"/>
                <a:gd name="connsiteY140" fmla="*/ 219067 h 2756708"/>
                <a:gd name="connsiteX141" fmla="*/ 451653 w 1199490"/>
                <a:gd name="connsiteY141" fmla="*/ 333103 h 2756708"/>
                <a:gd name="connsiteX142" fmla="*/ 109948 w 1199490"/>
                <a:gd name="connsiteY142" fmla="*/ 130372 h 2756708"/>
                <a:gd name="connsiteX143" fmla="*/ 134886 w 1199490"/>
                <a:gd name="connsiteY143" fmla="*/ 50125 h 2756708"/>
                <a:gd name="connsiteX144" fmla="*/ 536124 w 1199490"/>
                <a:gd name="connsiteY144" fmla="*/ 320433 h 2756708"/>
                <a:gd name="connsiteX145" fmla="*/ 337187 w 1199490"/>
                <a:gd name="connsiteY145" fmla="*/ 87302 h 2756708"/>
                <a:gd name="connsiteX146" fmla="*/ 400970 w 1199490"/>
                <a:gd name="connsiteY146" fmla="*/ 34457 h 2756708"/>
                <a:gd name="connsiteX147" fmla="*/ 603701 w 1199490"/>
                <a:gd name="connsiteY147" fmla="*/ 362668 h 2756708"/>
                <a:gd name="connsiteX148" fmla="*/ 743078 w 1199490"/>
                <a:gd name="connsiteY148" fmla="*/ 92360 h 2756708"/>
                <a:gd name="connsiteX149" fmla="*/ 894240 w 1199490"/>
                <a:gd name="connsiteY149" fmla="*/ 6 h 275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199490" h="2756708">
                  <a:moveTo>
                    <a:pt x="645069" y="2353290"/>
                  </a:moveTo>
                  <a:lnTo>
                    <a:pt x="645069" y="2473092"/>
                  </a:lnTo>
                  <a:lnTo>
                    <a:pt x="883395" y="2473092"/>
                  </a:lnTo>
                  <a:close/>
                  <a:moveTo>
                    <a:pt x="552457" y="2345158"/>
                  </a:moveTo>
                  <a:lnTo>
                    <a:pt x="297954" y="2473092"/>
                  </a:lnTo>
                  <a:lnTo>
                    <a:pt x="552457" y="2473092"/>
                  </a:lnTo>
                  <a:close/>
                  <a:moveTo>
                    <a:pt x="911942" y="2164451"/>
                  </a:moveTo>
                  <a:lnTo>
                    <a:pt x="664117" y="2289029"/>
                  </a:lnTo>
                  <a:lnTo>
                    <a:pt x="949348" y="2432409"/>
                  </a:lnTo>
                  <a:close/>
                  <a:moveTo>
                    <a:pt x="266628" y="2163054"/>
                  </a:moveTo>
                  <a:lnTo>
                    <a:pt x="228802" y="2434018"/>
                  </a:lnTo>
                  <a:lnTo>
                    <a:pt x="517232" y="2289029"/>
                  </a:lnTo>
                  <a:close/>
                  <a:moveTo>
                    <a:pt x="645069" y="2114420"/>
                  </a:moveTo>
                  <a:lnTo>
                    <a:pt x="645069" y="2224768"/>
                  </a:lnTo>
                  <a:lnTo>
                    <a:pt x="864586" y="2114420"/>
                  </a:lnTo>
                  <a:close/>
                  <a:moveTo>
                    <a:pt x="316763" y="2114420"/>
                  </a:moveTo>
                  <a:lnTo>
                    <a:pt x="552457" y="2232899"/>
                  </a:lnTo>
                  <a:lnTo>
                    <a:pt x="552457" y="2114420"/>
                  </a:lnTo>
                  <a:close/>
                  <a:moveTo>
                    <a:pt x="645069" y="1853542"/>
                  </a:moveTo>
                  <a:lnTo>
                    <a:pt x="645069" y="1974167"/>
                  </a:lnTo>
                  <a:lnTo>
                    <a:pt x="841112" y="1974167"/>
                  </a:lnTo>
                  <a:close/>
                  <a:moveTo>
                    <a:pt x="552457" y="1851097"/>
                  </a:moveTo>
                  <a:lnTo>
                    <a:pt x="352440" y="1974167"/>
                  </a:lnTo>
                  <a:lnTo>
                    <a:pt x="552457" y="1974167"/>
                  </a:lnTo>
                  <a:close/>
                  <a:moveTo>
                    <a:pt x="843223" y="1672188"/>
                  </a:moveTo>
                  <a:lnTo>
                    <a:pt x="645069" y="1794113"/>
                  </a:lnTo>
                  <a:lnTo>
                    <a:pt x="645069" y="1795132"/>
                  </a:lnTo>
                  <a:lnTo>
                    <a:pt x="880619" y="1940066"/>
                  </a:lnTo>
                  <a:close/>
                  <a:moveTo>
                    <a:pt x="336351" y="1663588"/>
                  </a:moveTo>
                  <a:lnTo>
                    <a:pt x="296329" y="1950283"/>
                  </a:lnTo>
                  <a:lnTo>
                    <a:pt x="549312" y="1794622"/>
                  </a:lnTo>
                  <a:close/>
                  <a:moveTo>
                    <a:pt x="645069" y="1650996"/>
                  </a:moveTo>
                  <a:lnTo>
                    <a:pt x="645069" y="1735703"/>
                  </a:lnTo>
                  <a:lnTo>
                    <a:pt x="782736" y="1650996"/>
                  </a:lnTo>
                  <a:close/>
                  <a:moveTo>
                    <a:pt x="410816" y="1650996"/>
                  </a:moveTo>
                  <a:lnTo>
                    <a:pt x="552457" y="1738148"/>
                  </a:lnTo>
                  <a:lnTo>
                    <a:pt x="552457" y="1650996"/>
                  </a:lnTo>
                  <a:close/>
                  <a:moveTo>
                    <a:pt x="645069" y="1466110"/>
                  </a:moveTo>
                  <a:lnTo>
                    <a:pt x="645069" y="1549258"/>
                  </a:lnTo>
                  <a:lnTo>
                    <a:pt x="754966" y="1549258"/>
                  </a:lnTo>
                  <a:close/>
                  <a:moveTo>
                    <a:pt x="552457" y="1464303"/>
                  </a:moveTo>
                  <a:lnTo>
                    <a:pt x="440172" y="1549258"/>
                  </a:lnTo>
                  <a:lnTo>
                    <a:pt x="552457" y="1549258"/>
                  </a:lnTo>
                  <a:close/>
                  <a:moveTo>
                    <a:pt x="789199" y="1285183"/>
                  </a:moveTo>
                  <a:lnTo>
                    <a:pt x="645069" y="1394233"/>
                  </a:lnTo>
                  <a:lnTo>
                    <a:pt x="645069" y="1395476"/>
                  </a:lnTo>
                  <a:lnTo>
                    <a:pt x="823435" y="1530428"/>
                  </a:lnTo>
                  <a:close/>
                  <a:moveTo>
                    <a:pt x="390777" y="1273712"/>
                  </a:moveTo>
                  <a:lnTo>
                    <a:pt x="352960" y="1544609"/>
                  </a:lnTo>
                  <a:lnTo>
                    <a:pt x="550891" y="1394854"/>
                  </a:lnTo>
                  <a:close/>
                  <a:moveTo>
                    <a:pt x="645069" y="1254564"/>
                  </a:moveTo>
                  <a:lnTo>
                    <a:pt x="645069" y="1323599"/>
                  </a:lnTo>
                  <a:lnTo>
                    <a:pt x="736312" y="1254564"/>
                  </a:lnTo>
                  <a:close/>
                  <a:moveTo>
                    <a:pt x="458826" y="1254564"/>
                  </a:moveTo>
                  <a:lnTo>
                    <a:pt x="552457" y="1325406"/>
                  </a:lnTo>
                  <a:lnTo>
                    <a:pt x="552457" y="1254564"/>
                  </a:lnTo>
                  <a:close/>
                  <a:moveTo>
                    <a:pt x="645069" y="934208"/>
                  </a:moveTo>
                  <a:lnTo>
                    <a:pt x="645069" y="1152826"/>
                  </a:lnTo>
                  <a:lnTo>
                    <a:pt x="770722" y="1152826"/>
                  </a:lnTo>
                  <a:lnTo>
                    <a:pt x="740204" y="934208"/>
                  </a:lnTo>
                  <a:close/>
                  <a:moveTo>
                    <a:pt x="438170" y="934208"/>
                  </a:moveTo>
                  <a:lnTo>
                    <a:pt x="407652" y="1152826"/>
                  </a:lnTo>
                  <a:lnTo>
                    <a:pt x="552457" y="1152826"/>
                  </a:lnTo>
                  <a:lnTo>
                    <a:pt x="552457" y="934208"/>
                  </a:lnTo>
                  <a:close/>
                  <a:moveTo>
                    <a:pt x="143156" y="387286"/>
                  </a:moveTo>
                  <a:cubicBezTo>
                    <a:pt x="201498" y="382807"/>
                    <a:pt x="233766" y="403245"/>
                    <a:pt x="280538" y="415367"/>
                  </a:cubicBezTo>
                  <a:lnTo>
                    <a:pt x="362376" y="455184"/>
                  </a:lnTo>
                  <a:lnTo>
                    <a:pt x="185635" y="451000"/>
                  </a:lnTo>
                  <a:cubicBezTo>
                    <a:pt x="78940" y="461308"/>
                    <a:pt x="66548" y="403618"/>
                    <a:pt x="143156" y="387286"/>
                  </a:cubicBezTo>
                  <a:close/>
                  <a:moveTo>
                    <a:pt x="1036102" y="385736"/>
                  </a:moveTo>
                  <a:cubicBezTo>
                    <a:pt x="1113000" y="400644"/>
                    <a:pt x="1101681" y="458553"/>
                    <a:pt x="994813" y="450228"/>
                  </a:cubicBezTo>
                  <a:lnTo>
                    <a:pt x="818181" y="457691"/>
                  </a:lnTo>
                  <a:lnTo>
                    <a:pt x="899265" y="416362"/>
                  </a:lnTo>
                  <a:cubicBezTo>
                    <a:pt x="945804" y="403374"/>
                    <a:pt x="977687" y="382341"/>
                    <a:pt x="1036102" y="385736"/>
                  </a:cubicBezTo>
                  <a:close/>
                  <a:moveTo>
                    <a:pt x="549850" y="8374"/>
                  </a:moveTo>
                  <a:cubicBezTo>
                    <a:pt x="560794" y="1831"/>
                    <a:pt x="578165" y="16654"/>
                    <a:pt x="598315" y="50238"/>
                  </a:cubicBezTo>
                  <a:cubicBezTo>
                    <a:pt x="621477" y="103972"/>
                    <a:pt x="605726" y="146588"/>
                    <a:pt x="609432" y="194763"/>
                  </a:cubicBezTo>
                  <a:lnTo>
                    <a:pt x="598315" y="285091"/>
                  </a:lnTo>
                  <a:lnTo>
                    <a:pt x="539949" y="94707"/>
                  </a:lnTo>
                  <a:cubicBezTo>
                    <a:pt x="534390" y="42827"/>
                    <a:pt x="538907" y="14917"/>
                    <a:pt x="549850" y="8374"/>
                  </a:cubicBezTo>
                  <a:close/>
                  <a:moveTo>
                    <a:pt x="894240" y="6"/>
                  </a:moveTo>
                  <a:cubicBezTo>
                    <a:pt x="925392" y="-447"/>
                    <a:pt x="933610" y="24254"/>
                    <a:pt x="907797" y="58572"/>
                  </a:cubicBezTo>
                  <a:cubicBezTo>
                    <a:pt x="811346" y="136134"/>
                    <a:pt x="742786" y="188861"/>
                    <a:pt x="683546" y="320849"/>
                  </a:cubicBezTo>
                  <a:cubicBezTo>
                    <a:pt x="794335" y="187622"/>
                    <a:pt x="890329" y="137255"/>
                    <a:pt x="1021833" y="69131"/>
                  </a:cubicBezTo>
                  <a:cubicBezTo>
                    <a:pt x="1156378" y="40085"/>
                    <a:pt x="1202147" y="52468"/>
                    <a:pt x="1114751" y="124037"/>
                  </a:cubicBezTo>
                  <a:cubicBezTo>
                    <a:pt x="999738" y="200779"/>
                    <a:pt x="878806" y="221295"/>
                    <a:pt x="775630" y="321711"/>
                  </a:cubicBezTo>
                  <a:cubicBezTo>
                    <a:pt x="841790" y="293229"/>
                    <a:pt x="905171" y="256408"/>
                    <a:pt x="974110" y="236264"/>
                  </a:cubicBezTo>
                  <a:cubicBezTo>
                    <a:pt x="1020926" y="221671"/>
                    <a:pt x="1109432" y="245991"/>
                    <a:pt x="1025619" y="253633"/>
                  </a:cubicBezTo>
                  <a:cubicBezTo>
                    <a:pt x="929695" y="306986"/>
                    <a:pt x="864344" y="313090"/>
                    <a:pt x="785096" y="394236"/>
                  </a:cubicBezTo>
                  <a:cubicBezTo>
                    <a:pt x="911657" y="338358"/>
                    <a:pt x="1007645" y="338067"/>
                    <a:pt x="1117530" y="312762"/>
                  </a:cubicBezTo>
                  <a:cubicBezTo>
                    <a:pt x="1211247" y="307794"/>
                    <a:pt x="1182672" y="327840"/>
                    <a:pt x="1193009" y="339548"/>
                  </a:cubicBezTo>
                  <a:cubicBezTo>
                    <a:pt x="961023" y="376334"/>
                    <a:pt x="848550" y="393665"/>
                    <a:pt x="738855" y="499934"/>
                  </a:cubicBezTo>
                  <a:cubicBezTo>
                    <a:pt x="842927" y="483331"/>
                    <a:pt x="924765" y="466728"/>
                    <a:pt x="1026057" y="516828"/>
                  </a:cubicBezTo>
                  <a:cubicBezTo>
                    <a:pt x="1106585" y="553105"/>
                    <a:pt x="1073160" y="578264"/>
                    <a:pt x="1011941" y="567292"/>
                  </a:cubicBezTo>
                  <a:lnTo>
                    <a:pt x="772534" y="529389"/>
                  </a:lnTo>
                  <a:lnTo>
                    <a:pt x="719072" y="544948"/>
                  </a:lnTo>
                  <a:lnTo>
                    <a:pt x="626371" y="619529"/>
                  </a:lnTo>
                  <a:lnTo>
                    <a:pt x="628545" y="685509"/>
                  </a:lnTo>
                  <a:lnTo>
                    <a:pt x="666931" y="685509"/>
                  </a:lnTo>
                  <a:lnTo>
                    <a:pt x="666931" y="735066"/>
                  </a:lnTo>
                  <a:lnTo>
                    <a:pt x="772814" y="735066"/>
                  </a:lnTo>
                  <a:lnTo>
                    <a:pt x="832829" y="1152826"/>
                  </a:lnTo>
                  <a:lnTo>
                    <a:pt x="895393" y="1152826"/>
                  </a:lnTo>
                  <a:lnTo>
                    <a:pt x="895393" y="1254564"/>
                  </a:lnTo>
                  <a:lnTo>
                    <a:pt x="847444" y="1254564"/>
                  </a:lnTo>
                  <a:lnTo>
                    <a:pt x="950821" y="1974167"/>
                  </a:lnTo>
                  <a:lnTo>
                    <a:pt x="1026324" y="1974167"/>
                  </a:lnTo>
                  <a:lnTo>
                    <a:pt x="1026324" y="2114420"/>
                  </a:lnTo>
                  <a:lnTo>
                    <a:pt x="970970" y="2114420"/>
                  </a:lnTo>
                  <a:lnTo>
                    <a:pt x="973214" y="2130041"/>
                  </a:lnTo>
                  <a:lnTo>
                    <a:pt x="974663" y="2132923"/>
                  </a:lnTo>
                  <a:lnTo>
                    <a:pt x="973698" y="2133408"/>
                  </a:lnTo>
                  <a:lnTo>
                    <a:pt x="1021890" y="2468875"/>
                  </a:lnTo>
                  <a:lnTo>
                    <a:pt x="1026389" y="2471136"/>
                  </a:lnTo>
                  <a:lnTo>
                    <a:pt x="1025406" y="2473092"/>
                  </a:lnTo>
                  <a:lnTo>
                    <a:pt x="1199490" y="2473092"/>
                  </a:lnTo>
                  <a:lnTo>
                    <a:pt x="1199490" y="2756708"/>
                  </a:lnTo>
                  <a:lnTo>
                    <a:pt x="0" y="2756708"/>
                  </a:lnTo>
                  <a:lnTo>
                    <a:pt x="0" y="2473092"/>
                  </a:lnTo>
                  <a:lnTo>
                    <a:pt x="172772" y="2473092"/>
                  </a:lnTo>
                  <a:lnTo>
                    <a:pt x="224299" y="2114420"/>
                  </a:lnTo>
                  <a:lnTo>
                    <a:pt x="168942" y="2114420"/>
                  </a:lnTo>
                  <a:lnTo>
                    <a:pt x="168942" y="1974167"/>
                  </a:lnTo>
                  <a:lnTo>
                    <a:pt x="244447" y="1974167"/>
                  </a:lnTo>
                  <a:lnTo>
                    <a:pt x="347824" y="1254564"/>
                  </a:lnTo>
                  <a:lnTo>
                    <a:pt x="291424" y="1254564"/>
                  </a:lnTo>
                  <a:lnTo>
                    <a:pt x="291424" y="1152826"/>
                  </a:lnTo>
                  <a:lnTo>
                    <a:pt x="362439" y="1152826"/>
                  </a:lnTo>
                  <a:lnTo>
                    <a:pt x="422454" y="735066"/>
                  </a:lnTo>
                  <a:lnTo>
                    <a:pt x="525327" y="735066"/>
                  </a:lnTo>
                  <a:lnTo>
                    <a:pt x="525327" y="685509"/>
                  </a:lnTo>
                  <a:lnTo>
                    <a:pt x="567675" y="685509"/>
                  </a:lnTo>
                  <a:lnTo>
                    <a:pt x="565798" y="628739"/>
                  </a:lnTo>
                  <a:cubicBezTo>
                    <a:pt x="530157" y="599401"/>
                    <a:pt x="508412" y="567284"/>
                    <a:pt x="458874" y="540725"/>
                  </a:cubicBezTo>
                  <a:cubicBezTo>
                    <a:pt x="341735" y="518737"/>
                    <a:pt x="238494" y="559073"/>
                    <a:pt x="121355" y="569636"/>
                  </a:cubicBezTo>
                  <a:cubicBezTo>
                    <a:pt x="179453" y="450159"/>
                    <a:pt x="350001" y="478646"/>
                    <a:pt x="464324" y="489375"/>
                  </a:cubicBezTo>
                  <a:cubicBezTo>
                    <a:pt x="335232" y="367671"/>
                    <a:pt x="188385" y="388010"/>
                    <a:pt x="50415" y="337327"/>
                  </a:cubicBezTo>
                  <a:cubicBezTo>
                    <a:pt x="2350" y="318594"/>
                    <a:pt x="46021" y="305780"/>
                    <a:pt x="92651" y="307762"/>
                  </a:cubicBezTo>
                  <a:cubicBezTo>
                    <a:pt x="225994" y="322675"/>
                    <a:pt x="317907" y="361260"/>
                    <a:pt x="430535" y="388009"/>
                  </a:cubicBezTo>
                  <a:cubicBezTo>
                    <a:pt x="360429" y="328162"/>
                    <a:pt x="284406" y="294948"/>
                    <a:pt x="193586" y="264693"/>
                  </a:cubicBezTo>
                  <a:cubicBezTo>
                    <a:pt x="137073" y="213973"/>
                    <a:pt x="210767" y="234276"/>
                    <a:pt x="219357" y="219067"/>
                  </a:cubicBezTo>
                  <a:cubicBezTo>
                    <a:pt x="296789" y="257079"/>
                    <a:pt x="380140" y="286213"/>
                    <a:pt x="451653" y="333103"/>
                  </a:cubicBezTo>
                  <a:cubicBezTo>
                    <a:pt x="365371" y="218178"/>
                    <a:pt x="216945" y="197949"/>
                    <a:pt x="109948" y="130372"/>
                  </a:cubicBezTo>
                  <a:cubicBezTo>
                    <a:pt x="41321" y="74031"/>
                    <a:pt x="20041" y="47282"/>
                    <a:pt x="134886" y="50125"/>
                  </a:cubicBezTo>
                  <a:cubicBezTo>
                    <a:pt x="313021" y="88441"/>
                    <a:pt x="431971" y="212575"/>
                    <a:pt x="536124" y="320433"/>
                  </a:cubicBezTo>
                  <a:cubicBezTo>
                    <a:pt x="502364" y="226940"/>
                    <a:pt x="400540" y="168958"/>
                    <a:pt x="337187" y="87302"/>
                  </a:cubicBezTo>
                  <a:cubicBezTo>
                    <a:pt x="264471" y="28284"/>
                    <a:pt x="263270" y="-35473"/>
                    <a:pt x="400970" y="34457"/>
                  </a:cubicBezTo>
                  <a:cubicBezTo>
                    <a:pt x="515895" y="127779"/>
                    <a:pt x="550920" y="233836"/>
                    <a:pt x="603701" y="362668"/>
                  </a:cubicBezTo>
                  <a:cubicBezTo>
                    <a:pt x="650160" y="272565"/>
                    <a:pt x="678863" y="179504"/>
                    <a:pt x="743078" y="92360"/>
                  </a:cubicBezTo>
                  <a:cubicBezTo>
                    <a:pt x="809001" y="26065"/>
                    <a:pt x="863087" y="459"/>
                    <a:pt x="894240" y="6"/>
                  </a:cubicBezTo>
                  <a:close/>
                </a:path>
              </a:pathLst>
            </a:custGeom>
            <a:grp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99" name="Group 98"/>
          <p:cNvGrpSpPr/>
          <p:nvPr/>
        </p:nvGrpSpPr>
        <p:grpSpPr>
          <a:xfrm>
            <a:off x="834941" y="2151579"/>
            <a:ext cx="2298318" cy="1005840"/>
            <a:chOff x="834941" y="4278317"/>
            <a:chExt cx="2298318" cy="1005840"/>
          </a:xfrm>
          <a:noFill/>
        </p:grpSpPr>
        <p:sp>
          <p:nvSpPr>
            <p:cNvPr id="100" name="Rectangle 99"/>
            <p:cNvSpPr/>
            <p:nvPr/>
          </p:nvSpPr>
          <p:spPr>
            <a:xfrm>
              <a:off x="834941" y="4278317"/>
              <a:ext cx="2298318" cy="1005840"/>
            </a:xfrm>
            <a:prstGeom prst="rect">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Remote </a:t>
              </a:r>
            </a:p>
            <a:p>
              <a:pPr>
                <a:lnSpc>
                  <a:spcPct val="90000"/>
                </a:lnSpc>
              </a:pPr>
              <a:r>
                <a:rPr lang="en-US" sz="2000" dirty="0" smtClean="0">
                  <a:latin typeface="+mj-lt"/>
                  <a:cs typeface="Segoe UI Light" panose="020B0502040204020203" pitchFamily="34" charset="0"/>
                </a:rPr>
                <a:t>Monitoring</a:t>
              </a:r>
              <a:endParaRPr lang="en-US" sz="2000" dirty="0">
                <a:latin typeface="+mj-lt"/>
                <a:cs typeface="Segoe UI Light" panose="020B0502040204020203" pitchFamily="34" charset="0"/>
              </a:endParaRPr>
            </a:p>
          </p:txBody>
        </p:sp>
        <p:sp>
          <p:nvSpPr>
            <p:cNvPr id="101" name="Rectangle 2048"/>
            <p:cNvSpPr>
              <a:spLocks noChangeAspect="1"/>
            </p:cNvSpPr>
            <p:nvPr/>
          </p:nvSpPr>
          <p:spPr bwMode="auto">
            <a:xfrm flipV="1">
              <a:off x="2638180" y="4402611"/>
              <a:ext cx="408777" cy="7572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102" name="Group 101"/>
          <p:cNvGrpSpPr/>
          <p:nvPr/>
        </p:nvGrpSpPr>
        <p:grpSpPr>
          <a:xfrm>
            <a:off x="834941" y="5344507"/>
            <a:ext cx="2298318" cy="1005840"/>
            <a:chOff x="834941" y="5344507"/>
            <a:chExt cx="2298318" cy="1005840"/>
          </a:xfrm>
          <a:noFill/>
        </p:grpSpPr>
        <p:sp>
          <p:nvSpPr>
            <p:cNvPr id="103" name="Rectangle 102"/>
            <p:cNvSpPr/>
            <p:nvPr/>
          </p:nvSpPr>
          <p:spPr>
            <a:xfrm>
              <a:off x="834941" y="5344507"/>
              <a:ext cx="2298318" cy="1005840"/>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future applications</a:t>
              </a:r>
              <a:endParaRPr lang="en-US" sz="2000" dirty="0">
                <a:latin typeface="+mj-lt"/>
                <a:cs typeface="Segoe UI Light" panose="020B0502040204020203" pitchFamily="34" charset="0"/>
              </a:endParaRPr>
            </a:p>
          </p:txBody>
        </p:sp>
        <p:grpSp>
          <p:nvGrpSpPr>
            <p:cNvPr id="104" name="Group 103"/>
            <p:cNvGrpSpPr>
              <a:grpSpLocks noChangeAspect="1"/>
            </p:cNvGrpSpPr>
            <p:nvPr/>
          </p:nvGrpSpPr>
          <p:grpSpPr>
            <a:xfrm>
              <a:off x="2445769" y="5457513"/>
              <a:ext cx="641175" cy="640080"/>
              <a:chOff x="5630862" y="2964656"/>
              <a:chExt cx="930275" cy="928688"/>
            </a:xfrm>
            <a:grpFill/>
          </p:grpSpPr>
          <p:sp>
            <p:nvSpPr>
              <p:cNvPr id="105" name="Freeform 104"/>
              <p:cNvSpPr>
                <a:spLocks/>
              </p:cNvSpPr>
              <p:nvPr/>
            </p:nvSpPr>
            <p:spPr bwMode="auto">
              <a:xfrm>
                <a:off x="5630862" y="2964656"/>
                <a:ext cx="930275" cy="928688"/>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06" name="Freeform 105"/>
              <p:cNvSpPr>
                <a:spLocks noEditPoints="1"/>
              </p:cNvSpPr>
              <p:nvPr/>
            </p:nvSpPr>
            <p:spPr bwMode="auto">
              <a:xfrm>
                <a:off x="5792787" y="3126581"/>
                <a:ext cx="606425" cy="604838"/>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63" name="Freeform 162"/>
              <p:cNvSpPr>
                <a:spLocks/>
              </p:cNvSpPr>
              <p:nvPr/>
            </p:nvSpPr>
            <p:spPr bwMode="auto">
              <a:xfrm>
                <a:off x="5951537" y="3275806"/>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64" name="Freeform 163"/>
              <p:cNvSpPr>
                <a:spLocks noEditPoints="1"/>
              </p:cNvSpPr>
              <p:nvPr/>
            </p:nvSpPr>
            <p:spPr bwMode="auto">
              <a:xfrm>
                <a:off x="5951537" y="3423444"/>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65" name="Freeform 164"/>
              <p:cNvSpPr>
                <a:spLocks/>
              </p:cNvSpPr>
              <p:nvPr/>
            </p:nvSpPr>
            <p:spPr bwMode="auto">
              <a:xfrm>
                <a:off x="5951537" y="3348831"/>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66" name="Rectangle 165"/>
              <p:cNvSpPr>
                <a:spLocks noChangeArrowheads="1"/>
              </p:cNvSpPr>
              <p:nvPr/>
            </p:nvSpPr>
            <p:spPr bwMode="auto">
              <a:xfrm>
                <a:off x="6043612" y="3621881"/>
                <a:ext cx="114300" cy="71438"/>
              </a:xfrm>
              <a:prstGeom prst="rect">
                <a:avLst/>
              </a:prstGeom>
              <a:grp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grpSp>
      </p:grpSp>
    </p:spTree>
    <p:extLst>
      <p:ext uri="{BB962C8B-B14F-4D97-AF65-F5344CB8AC3E}">
        <p14:creationId xmlns:p14="http://schemas.microsoft.com/office/powerpoint/2010/main" val="166411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56539" y="0"/>
            <a:ext cx="10348490" cy="6885132"/>
          </a:xfrm>
          <a:prstGeom prst="rect">
            <a:avLst/>
          </a:prstGeom>
        </p:spPr>
      </p:pic>
    </p:spTree>
    <p:extLst>
      <p:ext uri="{BB962C8B-B14F-4D97-AF65-F5344CB8AC3E}">
        <p14:creationId xmlns:p14="http://schemas.microsoft.com/office/powerpoint/2010/main" val="1019694271"/>
      </p:ext>
    </p:extLst>
  </p:cSld>
  <p:clrMapOvr>
    <a:masterClrMapping/>
  </p:clrMapOvr>
  <p:transition spd="slow">
    <p:push/>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5630" y="2084364"/>
            <a:ext cx="2644453" cy="2689274"/>
          </a:xfrm>
          <a:prstGeom prst="rect">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Things</a:t>
            </a:r>
          </a:p>
        </p:txBody>
      </p:sp>
      <p:grpSp>
        <p:nvGrpSpPr>
          <p:cNvPr id="3" name="Group 2"/>
          <p:cNvGrpSpPr/>
          <p:nvPr/>
        </p:nvGrpSpPr>
        <p:grpSpPr>
          <a:xfrm>
            <a:off x="1516176" y="3614944"/>
            <a:ext cx="1180812" cy="952102"/>
            <a:chOff x="1640724" y="3762844"/>
            <a:chExt cx="1110344" cy="895283"/>
          </a:xfrm>
        </p:grpSpPr>
        <p:grpSp>
          <p:nvGrpSpPr>
            <p:cNvPr id="4" name="Group 3"/>
            <p:cNvGrpSpPr/>
            <p:nvPr/>
          </p:nvGrpSpPr>
          <p:grpSpPr>
            <a:xfrm flipH="1">
              <a:off x="2101550" y="3865418"/>
              <a:ext cx="649518" cy="279906"/>
              <a:chOff x="18524538" y="-23752175"/>
              <a:chExt cx="41830625" cy="18087975"/>
            </a:xfrm>
            <a:solidFill>
              <a:schemeClr val="bg1"/>
            </a:solidFill>
          </p:grpSpPr>
          <p:sp>
            <p:nvSpPr>
              <p:cNvPr id="22"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23"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24"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grpSp>
          <p:nvGrpSpPr>
            <p:cNvPr id="5" name="Group 4"/>
            <p:cNvGrpSpPr/>
            <p:nvPr/>
          </p:nvGrpSpPr>
          <p:grpSpPr>
            <a:xfrm flipH="1">
              <a:off x="2200373" y="4223497"/>
              <a:ext cx="522120" cy="432207"/>
              <a:chOff x="16659225" y="-4403725"/>
              <a:chExt cx="3724275" cy="3082925"/>
            </a:xfrm>
            <a:solidFill>
              <a:schemeClr val="bg1"/>
            </a:solidFill>
          </p:grpSpPr>
          <p:sp>
            <p:nvSpPr>
              <p:cNvPr id="20"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21"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nvGrpSpPr>
            <p:cNvPr id="6" name="Group 5"/>
            <p:cNvGrpSpPr/>
            <p:nvPr/>
          </p:nvGrpSpPr>
          <p:grpSpPr>
            <a:xfrm>
              <a:off x="1737360" y="3762844"/>
              <a:ext cx="255760" cy="423605"/>
              <a:chOff x="2981515" y="4282797"/>
              <a:chExt cx="371475" cy="615261"/>
            </a:xfrm>
          </p:grpSpPr>
          <p:sp>
            <p:nvSpPr>
              <p:cNvPr id="17" name="Freeform 13"/>
              <p:cNvSpPr>
                <a:spLocks noEditPoints="1"/>
              </p:cNvSpPr>
              <p:nvPr/>
            </p:nvSpPr>
            <p:spPr bwMode="auto">
              <a:xfrm>
                <a:off x="2981515" y="4282797"/>
                <a:ext cx="313163" cy="211117"/>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8" name="Rectangle 14"/>
              <p:cNvSpPr>
                <a:spLocks noChangeArrowheads="1"/>
              </p:cNvSpPr>
              <p:nvPr/>
            </p:nvSpPr>
            <p:spPr bwMode="auto">
              <a:xfrm>
                <a:off x="3311364" y="4329341"/>
                <a:ext cx="41626" cy="11978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9" name="Freeform 15"/>
              <p:cNvSpPr>
                <a:spLocks/>
              </p:cNvSpPr>
              <p:nvPr/>
            </p:nvSpPr>
            <p:spPr bwMode="auto">
              <a:xfrm>
                <a:off x="2981515" y="4511478"/>
                <a:ext cx="313163" cy="386580"/>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nvGrpSpPr>
            <p:cNvPr id="7" name="Group 6"/>
            <p:cNvGrpSpPr/>
            <p:nvPr/>
          </p:nvGrpSpPr>
          <p:grpSpPr>
            <a:xfrm>
              <a:off x="1640724" y="4275400"/>
              <a:ext cx="481642" cy="382727"/>
              <a:chOff x="-3435350" y="5073650"/>
              <a:chExt cx="3192462" cy="2536826"/>
            </a:xfrm>
            <a:solidFill>
              <a:schemeClr val="bg1"/>
            </a:solidFill>
          </p:grpSpPr>
          <p:sp>
            <p:nvSpPr>
              <p:cNvPr id="8"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9"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0"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1"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2"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4"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5"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6"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spTree>
    <p:extLst>
      <p:ext uri="{BB962C8B-B14F-4D97-AF65-F5344CB8AC3E}">
        <p14:creationId xmlns:p14="http://schemas.microsoft.com/office/powerpoint/2010/main" val="296380831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strips(downLeft)">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203116" y="6488668"/>
            <a:ext cx="5988884" cy="369332"/>
          </a:xfrm>
          <a:prstGeom prst="rect">
            <a:avLst/>
          </a:prstGeom>
        </p:spPr>
        <p:txBody>
          <a:bodyPr wrap="none">
            <a:spAutoFit/>
          </a:bodyPr>
          <a:lstStyle/>
          <a:p>
            <a:r>
              <a:rPr lang="en-US" dirty="0"/>
              <a:t>http://www.eetimes.com/document.asp?doc_id=1325181</a:t>
            </a:r>
          </a:p>
        </p:txBody>
      </p:sp>
      <p:sp>
        <p:nvSpPr>
          <p:cNvPr id="4" name="Rectangle 3"/>
          <p:cNvSpPr/>
          <p:nvPr/>
        </p:nvSpPr>
        <p:spPr>
          <a:xfrm>
            <a:off x="612321" y="1677379"/>
            <a:ext cx="10818659" cy="2585323"/>
          </a:xfrm>
          <a:prstGeom prst="rect">
            <a:avLst/>
          </a:prstGeom>
        </p:spPr>
        <p:txBody>
          <a:bodyPr wrap="square">
            <a:spAutoFit/>
          </a:bodyPr>
          <a:lstStyle/>
          <a:p>
            <a:pPr algn="ctr"/>
            <a:r>
              <a:rPr lang="en-US" sz="5400" dirty="0" smtClean="0">
                <a:solidFill>
                  <a:srgbClr val="5E5E5E"/>
                </a:solidFill>
                <a:latin typeface="arial" panose="020B0604020202020204" pitchFamily="34" charset="0"/>
              </a:rPr>
              <a:t>Samsung CEO BK Yoon promised </a:t>
            </a:r>
            <a:r>
              <a:rPr lang="en-US" sz="5400" dirty="0">
                <a:solidFill>
                  <a:srgbClr val="5E5E5E"/>
                </a:solidFill>
                <a:latin typeface="arial" panose="020B0604020202020204" pitchFamily="34" charset="0"/>
              </a:rPr>
              <a:t>that by 2017, </a:t>
            </a:r>
            <a:r>
              <a:rPr lang="en-US" sz="5400" b="1" dirty="0">
                <a:solidFill>
                  <a:srgbClr val="5E5E5E"/>
                </a:solidFill>
                <a:latin typeface="arial" panose="020B0604020202020204" pitchFamily="34" charset="0"/>
              </a:rPr>
              <a:t>90%</a:t>
            </a:r>
            <a:r>
              <a:rPr lang="en-US" sz="5400" dirty="0">
                <a:solidFill>
                  <a:srgbClr val="5E5E5E"/>
                </a:solidFill>
                <a:latin typeface="arial" panose="020B0604020202020204" pitchFamily="34" charset="0"/>
              </a:rPr>
              <a:t> of Samsung devices will be IoT </a:t>
            </a:r>
            <a:r>
              <a:rPr lang="en-US" sz="5400" dirty="0" smtClean="0">
                <a:solidFill>
                  <a:srgbClr val="5E5E5E"/>
                </a:solidFill>
                <a:latin typeface="arial" panose="020B0604020202020204" pitchFamily="34" charset="0"/>
              </a:rPr>
              <a:t>devices</a:t>
            </a:r>
            <a:endParaRPr lang="en-US" sz="5400" dirty="0"/>
          </a:p>
        </p:txBody>
      </p:sp>
    </p:spTree>
    <p:extLst>
      <p:ext uri="{BB962C8B-B14F-4D97-AF65-F5344CB8AC3E}">
        <p14:creationId xmlns:p14="http://schemas.microsoft.com/office/powerpoint/2010/main" val="505133514"/>
      </p:ext>
    </p:extLst>
  </p:cSld>
  <p:clrMapOvr>
    <a:masterClrMapping/>
  </p:clrMapOvr>
  <p:transition spd="slow">
    <p:push/>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864635" y="62960"/>
            <a:ext cx="6481295" cy="6795040"/>
          </a:xfrm>
          <a:prstGeom prst="rect">
            <a:avLst/>
          </a:prstGeom>
        </p:spPr>
      </p:pic>
    </p:spTree>
    <p:extLst>
      <p:ext uri="{BB962C8B-B14F-4D97-AF65-F5344CB8AC3E}">
        <p14:creationId xmlns:p14="http://schemas.microsoft.com/office/powerpoint/2010/main" val="1651987256"/>
      </p:ext>
    </p:extLst>
  </p:cSld>
  <p:clrMapOvr>
    <a:masterClrMapping/>
  </p:clrMapOvr>
  <p:transition spd="slow">
    <p:push/>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2" y="3068437"/>
            <a:ext cx="11653523" cy="721126"/>
          </a:xfrm>
        </p:spPr>
        <p:txBody>
          <a:bodyPr anchor="ctr"/>
          <a:lstStyle/>
          <a:p>
            <a:pPr marL="0" indent="0" algn="ctr">
              <a:buNone/>
            </a:pPr>
            <a:r>
              <a:rPr lang="en-US" dirty="0" smtClean="0"/>
              <a:t>How many of you have an automated home?</a:t>
            </a:r>
            <a:endParaRPr lang="en-US" dirty="0"/>
          </a:p>
        </p:txBody>
      </p:sp>
    </p:spTree>
    <p:extLst>
      <p:ext uri="{BB962C8B-B14F-4D97-AF65-F5344CB8AC3E}">
        <p14:creationId xmlns:p14="http://schemas.microsoft.com/office/powerpoint/2010/main" val="372544004"/>
      </p:ext>
    </p:extLst>
  </p:cSld>
  <p:clrMapOvr>
    <a:masterClrMapping/>
  </p:clrMapOvr>
  <p:transition spd="slow">
    <p:push/>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962297" y="2084364"/>
            <a:ext cx="2644453" cy="2689274"/>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Connectivity</a:t>
            </a:r>
          </a:p>
        </p:txBody>
      </p:sp>
      <p:grpSp>
        <p:nvGrpSpPr>
          <p:cNvPr id="5" name="Group 4"/>
          <p:cNvGrpSpPr/>
          <p:nvPr/>
        </p:nvGrpSpPr>
        <p:grpSpPr>
          <a:xfrm>
            <a:off x="4795842" y="3962744"/>
            <a:ext cx="609018" cy="606953"/>
            <a:chOff x="13581063" y="-434975"/>
            <a:chExt cx="3236912" cy="3236913"/>
          </a:xfrm>
          <a:solidFill>
            <a:schemeClr val="bg2"/>
          </a:solidFill>
        </p:grpSpPr>
        <p:sp>
          <p:nvSpPr>
            <p:cNvPr id="6"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7"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8"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Tree>
    <p:extLst>
      <p:ext uri="{BB962C8B-B14F-4D97-AF65-F5344CB8AC3E}">
        <p14:creationId xmlns:p14="http://schemas.microsoft.com/office/powerpoint/2010/main" val="14900333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750"/>
                                  </p:stCondLst>
                                  <p:childTnLst>
                                    <p:set>
                                      <p:cBhvr>
                                        <p:cTn id="10" dur="1" fill="hold">
                                          <p:stCondLst>
                                            <p:cond delay="0"/>
                                          </p:stCondLst>
                                        </p:cTn>
                                        <p:tgtEl>
                                          <p:spTgt spid="5"/>
                                        </p:tgtEl>
                                        <p:attrNameLst>
                                          <p:attrName>style.visibility</p:attrName>
                                        </p:attrNameLst>
                                      </p:cBhvr>
                                      <p:to>
                                        <p:strVal val="visible"/>
                                      </p:to>
                                    </p:set>
                                    <p:animEffect transition="in" filter="strips(downLeft)">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mubaloo.com/perch/resources/alljoy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35935" y="1532572"/>
            <a:ext cx="5695950" cy="36099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5691581"/>
      </p:ext>
    </p:extLst>
  </p:cSld>
  <p:clrMapOvr>
    <a:masterClrMapping/>
  </p:clrMapOvr>
  <p:transition spd="slow">
    <p:push/>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2" name="Picture 6" descr="http://www.wink.com/img/about/hero/app/1.667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4815" y="117631"/>
            <a:ext cx="4111625" cy="674037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SmartThings Ap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8916" y="0"/>
            <a:ext cx="4462896" cy="9258618"/>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https://pbs.twimg.com/profile_images/459819104111562752/PeswBja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91812" y="2737722"/>
            <a:ext cx="1500188" cy="1500188"/>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Wink"/>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725" y="2628900"/>
            <a:ext cx="1500188" cy="1500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6520031"/>
      </p:ext>
    </p:extLst>
  </p:cSld>
  <p:clrMapOvr>
    <a:masterClrMapping/>
  </p:clrMapOvr>
  <p:transition spd="slow">
    <p:push/>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2" y="1189177"/>
            <a:ext cx="11653523" cy="3361849"/>
          </a:xfrm>
        </p:spPr>
        <p:txBody>
          <a:bodyPr/>
          <a:lstStyle/>
          <a:p>
            <a:r>
              <a:rPr lang="en-US" dirty="0" smtClean="0"/>
              <a:t>1 million secure publishers</a:t>
            </a:r>
          </a:p>
          <a:p>
            <a:r>
              <a:rPr lang="en-US" dirty="0" smtClean="0"/>
              <a:t>1 million events / second</a:t>
            </a:r>
          </a:p>
          <a:p>
            <a:r>
              <a:rPr lang="en-US" dirty="0"/>
              <a:t>Durable buffer</a:t>
            </a:r>
          </a:p>
          <a:p>
            <a:r>
              <a:rPr lang="en-US" dirty="0" smtClean="0"/>
              <a:t>Multiple Consumers</a:t>
            </a:r>
          </a:p>
          <a:p>
            <a:r>
              <a:rPr lang="en-US" dirty="0" smtClean="0"/>
              <a:t>Inexpensive</a:t>
            </a:r>
            <a:endParaRPr lang="en-US" dirty="0"/>
          </a:p>
        </p:txBody>
      </p:sp>
      <p:sp>
        <p:nvSpPr>
          <p:cNvPr id="2" name="Title 1"/>
          <p:cNvSpPr>
            <a:spLocks noGrp="1"/>
          </p:cNvSpPr>
          <p:nvPr>
            <p:ph type="title"/>
          </p:nvPr>
        </p:nvSpPr>
        <p:spPr/>
        <p:txBody>
          <a:bodyPr/>
          <a:lstStyle/>
          <a:p>
            <a:r>
              <a:rPr lang="en-US" dirty="0" smtClean="0"/>
              <a:t>Event Hubs</a:t>
            </a:r>
            <a:endParaRPr lang="en-US" dirty="0"/>
          </a:p>
        </p:txBody>
      </p:sp>
      <p:sp>
        <p:nvSpPr>
          <p:cNvPr id="4" name="Rectangle 3"/>
          <p:cNvSpPr/>
          <p:nvPr/>
        </p:nvSpPr>
        <p:spPr>
          <a:xfrm>
            <a:off x="4238379" y="4848996"/>
            <a:ext cx="3715248" cy="584775"/>
          </a:xfrm>
          <a:prstGeom prst="rect">
            <a:avLst/>
          </a:prstGeom>
        </p:spPr>
        <p:txBody>
          <a:bodyPr wrap="none">
            <a:spAutoFit/>
          </a:bodyPr>
          <a:lstStyle/>
          <a:p>
            <a:r>
              <a:rPr lang="en-US" sz="3200" dirty="0" smtClean="0"/>
              <a:t>This per Event Hub!</a:t>
            </a:r>
            <a:endParaRPr lang="en-US" sz="3200" dirty="0"/>
          </a:p>
        </p:txBody>
      </p:sp>
    </p:spTree>
    <p:extLst>
      <p:ext uri="{BB962C8B-B14F-4D97-AF65-F5344CB8AC3E}">
        <p14:creationId xmlns:p14="http://schemas.microsoft.com/office/powerpoint/2010/main" val="3008262410"/>
      </p:ext>
    </p:extLst>
  </p:cSld>
  <p:clrMapOvr>
    <a:masterClrMapping/>
  </p:clrMapOvr>
  <p:transition spd="slow">
    <p:push/>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ent Hubs Demo</a:t>
            </a:r>
            <a:endParaRPr lang="en-US" dirty="0"/>
          </a:p>
        </p:txBody>
      </p:sp>
      <p:sp>
        <p:nvSpPr>
          <p:cNvPr id="3" name="Rectangle 2"/>
          <p:cNvSpPr/>
          <p:nvPr/>
        </p:nvSpPr>
        <p:spPr bwMode="auto">
          <a:xfrm>
            <a:off x="3474500" y="2979420"/>
            <a:ext cx="1874520" cy="1268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vent Hubs</a:t>
            </a:r>
          </a:p>
        </p:txBody>
      </p:sp>
      <p:sp>
        <p:nvSpPr>
          <p:cNvPr id="4" name="Rectangle 3"/>
          <p:cNvSpPr/>
          <p:nvPr/>
        </p:nvSpPr>
        <p:spPr bwMode="auto">
          <a:xfrm>
            <a:off x="6389980" y="2979420"/>
            <a:ext cx="2057620" cy="1268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tream Analytics</a:t>
            </a:r>
          </a:p>
        </p:txBody>
      </p:sp>
      <p:sp>
        <p:nvSpPr>
          <p:cNvPr id="5" name="Rectangle 4"/>
          <p:cNvSpPr/>
          <p:nvPr/>
        </p:nvSpPr>
        <p:spPr bwMode="auto">
          <a:xfrm>
            <a:off x="9488560" y="2979420"/>
            <a:ext cx="1994780" cy="1268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ea typeface="Segoe UI" pitchFamily="34" charset="0"/>
                <a:cs typeface="Segoe UI" pitchFamily="34" charset="0"/>
              </a:rPr>
              <a:t>PowerBI</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ight Arrow 5"/>
          <p:cNvSpPr/>
          <p:nvPr/>
        </p:nvSpPr>
        <p:spPr bwMode="auto">
          <a:xfrm>
            <a:off x="5633280" y="3409950"/>
            <a:ext cx="472440" cy="47244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ight Arrow 6"/>
          <p:cNvSpPr/>
          <p:nvPr/>
        </p:nvSpPr>
        <p:spPr bwMode="auto">
          <a:xfrm>
            <a:off x="8731860" y="3409950"/>
            <a:ext cx="472440" cy="47244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58360" y="2979420"/>
            <a:ext cx="1874520" cy="1268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Device</a:t>
            </a:r>
          </a:p>
        </p:txBody>
      </p:sp>
      <p:sp>
        <p:nvSpPr>
          <p:cNvPr id="9" name="Right Arrow 8"/>
          <p:cNvSpPr/>
          <p:nvPr/>
        </p:nvSpPr>
        <p:spPr bwMode="auto">
          <a:xfrm>
            <a:off x="2717470" y="3409950"/>
            <a:ext cx="472440" cy="47244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42311858"/>
      </p:ext>
    </p:extLst>
  </p:cSld>
  <p:clrMapOvr>
    <a:masterClrMapping/>
  </p:clrMapOvr>
  <p:transition spd="slow">
    <p:push/>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72190" y="1262333"/>
            <a:ext cx="11047619" cy="4333333"/>
          </a:xfrm>
          <a:prstGeom prst="rect">
            <a:avLst/>
          </a:prstGeom>
        </p:spPr>
      </p:pic>
    </p:spTree>
    <p:extLst>
      <p:ext uri="{BB962C8B-B14F-4D97-AF65-F5344CB8AC3E}">
        <p14:creationId xmlns:p14="http://schemas.microsoft.com/office/powerpoint/2010/main" val="3645178654"/>
      </p:ext>
    </p:extLst>
  </p:cSld>
  <p:clrMapOvr>
    <a:masterClrMapping/>
  </p:clrMapOvr>
  <p:transition spd="slow">
    <p:push/>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18387" y="1141429"/>
            <a:ext cx="5605616" cy="4619291"/>
          </a:xfrm>
          <a:prstGeom prst="rect">
            <a:avLst/>
          </a:prstGeom>
        </p:spPr>
      </p:pic>
      <p:pic>
        <p:nvPicPr>
          <p:cNvPr id="5" name="Picture 4"/>
          <p:cNvPicPr>
            <a:picLocks noChangeAspect="1"/>
          </p:cNvPicPr>
          <p:nvPr/>
        </p:nvPicPr>
        <p:blipFill>
          <a:blip r:embed="rId3"/>
          <a:stretch>
            <a:fillRect/>
          </a:stretch>
        </p:blipFill>
        <p:spPr>
          <a:xfrm>
            <a:off x="6239281" y="1141429"/>
            <a:ext cx="5605616" cy="4619291"/>
          </a:xfrm>
          <a:prstGeom prst="rect">
            <a:avLst/>
          </a:prstGeom>
        </p:spPr>
      </p:pic>
    </p:spTree>
    <p:extLst>
      <p:ext uri="{BB962C8B-B14F-4D97-AF65-F5344CB8AC3E}">
        <p14:creationId xmlns:p14="http://schemas.microsoft.com/office/powerpoint/2010/main" val="2346062570"/>
      </p:ext>
    </p:extLst>
  </p:cSld>
  <p:clrMapOvr>
    <a:masterClrMapping/>
  </p:clrMapOvr>
  <p:transition spd="slow">
    <p:push/>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55915" y="65129"/>
            <a:ext cx="10301771" cy="6792871"/>
          </a:xfrm>
          <a:prstGeom prst="rect">
            <a:avLst/>
          </a:prstGeom>
        </p:spPr>
      </p:pic>
    </p:spTree>
    <p:extLst>
      <p:ext uri="{BB962C8B-B14F-4D97-AF65-F5344CB8AC3E}">
        <p14:creationId xmlns:p14="http://schemas.microsoft.com/office/powerpoint/2010/main" val="2078021168"/>
      </p:ext>
    </p:extLst>
  </p:cSld>
  <p:clrMapOvr>
    <a:masterClrMapping/>
  </p:clrMapOvr>
  <p:transition spd="slow">
    <p:push/>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72190" y="1086143"/>
            <a:ext cx="11047619" cy="4685714"/>
          </a:xfrm>
          <a:prstGeom prst="rect">
            <a:avLst/>
          </a:prstGeom>
        </p:spPr>
      </p:pic>
    </p:spTree>
    <p:extLst>
      <p:ext uri="{BB962C8B-B14F-4D97-AF65-F5344CB8AC3E}">
        <p14:creationId xmlns:p14="http://schemas.microsoft.com/office/powerpoint/2010/main" val="3979930817"/>
      </p:ext>
    </p:extLst>
  </p:cSld>
  <p:clrMapOvr>
    <a:masterClrMapping/>
  </p:clrMapOvr>
  <p:transition spd="slow">
    <p:push/>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28348" y="994131"/>
            <a:ext cx="5778752" cy="4885967"/>
          </a:xfrm>
          <a:prstGeom prst="rect">
            <a:avLst/>
          </a:prstGeom>
        </p:spPr>
      </p:pic>
      <p:pic>
        <p:nvPicPr>
          <p:cNvPr id="3" name="Picture 2"/>
          <p:cNvPicPr>
            <a:picLocks noChangeAspect="1"/>
          </p:cNvPicPr>
          <p:nvPr/>
        </p:nvPicPr>
        <p:blipFill>
          <a:blip r:embed="rId3"/>
          <a:stretch>
            <a:fillRect/>
          </a:stretch>
        </p:blipFill>
        <p:spPr>
          <a:xfrm>
            <a:off x="6198024" y="994131"/>
            <a:ext cx="5778752" cy="4885967"/>
          </a:xfrm>
          <a:prstGeom prst="rect">
            <a:avLst/>
          </a:prstGeom>
        </p:spPr>
      </p:pic>
    </p:spTree>
    <p:extLst>
      <p:ext uri="{BB962C8B-B14F-4D97-AF65-F5344CB8AC3E}">
        <p14:creationId xmlns:p14="http://schemas.microsoft.com/office/powerpoint/2010/main" val="1198808191"/>
      </p:ext>
    </p:extLst>
  </p:cSld>
  <p:clrMapOvr>
    <a:masterClrMapping/>
  </p:clrMapOvr>
  <p:transition spd="slow">
    <p:push/>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2" y="3068437"/>
            <a:ext cx="11653523" cy="721126"/>
          </a:xfrm>
        </p:spPr>
        <p:txBody>
          <a:bodyPr anchor="ctr"/>
          <a:lstStyle/>
          <a:p>
            <a:pPr marL="0" indent="0" algn="ctr">
              <a:buNone/>
            </a:pPr>
            <a:r>
              <a:rPr lang="en-US" dirty="0" smtClean="0"/>
              <a:t>How many of you collect data from your car?</a:t>
            </a:r>
            <a:endParaRPr lang="en-US" dirty="0"/>
          </a:p>
        </p:txBody>
      </p:sp>
    </p:spTree>
    <p:extLst>
      <p:ext uri="{BB962C8B-B14F-4D97-AF65-F5344CB8AC3E}">
        <p14:creationId xmlns:p14="http://schemas.microsoft.com/office/powerpoint/2010/main" val="2107274982"/>
      </p:ext>
    </p:extLst>
  </p:cSld>
  <p:clrMapOvr>
    <a:masterClrMapping/>
  </p:clrMapOvr>
  <p:transition spd="slow">
    <p:push/>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41619" y="1193800"/>
            <a:ext cx="5852782" cy="4748483"/>
          </a:xfrm>
          <a:prstGeom prst="rect">
            <a:avLst/>
          </a:prstGeom>
        </p:spPr>
      </p:pic>
      <p:pic>
        <p:nvPicPr>
          <p:cNvPr id="3" name="Picture 2"/>
          <p:cNvPicPr>
            <a:picLocks noChangeAspect="1"/>
          </p:cNvPicPr>
          <p:nvPr/>
        </p:nvPicPr>
        <p:blipFill>
          <a:blip r:embed="rId3"/>
          <a:stretch>
            <a:fillRect/>
          </a:stretch>
        </p:blipFill>
        <p:spPr>
          <a:xfrm>
            <a:off x="6090685" y="1193800"/>
            <a:ext cx="5850048" cy="4746265"/>
          </a:xfrm>
          <a:prstGeom prst="rect">
            <a:avLst/>
          </a:prstGeom>
        </p:spPr>
      </p:pic>
      <p:sp>
        <p:nvSpPr>
          <p:cNvPr id="4" name="Rectangle 3"/>
          <p:cNvSpPr/>
          <p:nvPr/>
        </p:nvSpPr>
        <p:spPr bwMode="auto">
          <a:xfrm>
            <a:off x="883920" y="4983480"/>
            <a:ext cx="838200" cy="16764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85560939"/>
      </p:ext>
    </p:extLst>
  </p:cSld>
  <p:clrMapOvr>
    <a:masterClrMapping/>
  </p:clrMapOvr>
  <p:transition spd="slow">
    <p:push/>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643619" y="1790905"/>
            <a:ext cx="8904762" cy="3276190"/>
          </a:xfrm>
          <a:prstGeom prst="rect">
            <a:avLst/>
          </a:prstGeom>
        </p:spPr>
      </p:pic>
    </p:spTree>
    <p:extLst>
      <p:ext uri="{BB962C8B-B14F-4D97-AF65-F5344CB8AC3E}">
        <p14:creationId xmlns:p14="http://schemas.microsoft.com/office/powerpoint/2010/main" val="340966725"/>
      </p:ext>
    </p:extLst>
  </p:cSld>
  <p:clrMapOvr>
    <a:masterClrMapping/>
  </p:clrMapOvr>
  <p:transition spd="slow">
    <p:push/>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848381" y="562333"/>
            <a:ext cx="6495238" cy="5733333"/>
          </a:xfrm>
          <a:prstGeom prst="rect">
            <a:avLst/>
          </a:prstGeom>
        </p:spPr>
      </p:pic>
    </p:spTree>
    <p:extLst>
      <p:ext uri="{BB962C8B-B14F-4D97-AF65-F5344CB8AC3E}">
        <p14:creationId xmlns:p14="http://schemas.microsoft.com/office/powerpoint/2010/main" val="2508314200"/>
      </p:ext>
    </p:extLst>
  </p:cSld>
  <p:clrMapOvr>
    <a:masterClrMapping/>
  </p:clrMapOvr>
  <p:transition spd="slow">
    <p:push/>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174852" y="0"/>
            <a:ext cx="9467799" cy="6858663"/>
          </a:xfrm>
          <a:prstGeom prst="rect">
            <a:avLst/>
          </a:prstGeom>
        </p:spPr>
      </p:pic>
    </p:spTree>
    <p:extLst>
      <p:ext uri="{BB962C8B-B14F-4D97-AF65-F5344CB8AC3E}">
        <p14:creationId xmlns:p14="http://schemas.microsoft.com/office/powerpoint/2010/main" val="2756044566"/>
      </p:ext>
    </p:extLst>
  </p:cSld>
  <p:clrMapOvr>
    <a:masterClrMapping/>
  </p:clrMapOvr>
  <p:transition spd="slow">
    <p:push/>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31480"/>
            <a:ext cx="12192000" cy="6537835"/>
          </a:xfrm>
          <a:prstGeom prst="rect">
            <a:avLst/>
          </a:prstGeom>
        </p:spPr>
      </p:pic>
    </p:spTree>
    <p:extLst>
      <p:ext uri="{BB962C8B-B14F-4D97-AF65-F5344CB8AC3E}">
        <p14:creationId xmlns:p14="http://schemas.microsoft.com/office/powerpoint/2010/main" val="511332498"/>
      </p:ext>
    </p:extLst>
  </p:cSld>
  <p:clrMapOvr>
    <a:masterClrMapping/>
  </p:clrMapOvr>
  <p:transition spd="slow">
    <p:push/>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00100" y="0"/>
            <a:ext cx="10721340" cy="6840706"/>
          </a:xfrm>
          <a:prstGeom prst="rect">
            <a:avLst/>
          </a:prstGeom>
        </p:spPr>
      </p:pic>
    </p:spTree>
    <p:extLst>
      <p:ext uri="{BB962C8B-B14F-4D97-AF65-F5344CB8AC3E}">
        <p14:creationId xmlns:p14="http://schemas.microsoft.com/office/powerpoint/2010/main" val="2501210031"/>
      </p:ext>
    </p:extLst>
  </p:cSld>
  <p:clrMapOvr>
    <a:masterClrMapping/>
  </p:clrMapOvr>
  <p:transition spd="slow">
    <p:push/>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646691" y="2084364"/>
            <a:ext cx="2644453" cy="2689274"/>
          </a:xfrm>
          <a:prstGeom prst="rect">
            <a:avLst/>
          </a:prstGeom>
          <a:solidFill>
            <a:srgbClr val="D83B01"/>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Data</a:t>
            </a:r>
          </a:p>
        </p:txBody>
      </p:sp>
      <p:grpSp>
        <p:nvGrpSpPr>
          <p:cNvPr id="3" name="Group 2"/>
          <p:cNvGrpSpPr/>
          <p:nvPr/>
        </p:nvGrpSpPr>
        <p:grpSpPr>
          <a:xfrm>
            <a:off x="7370541" y="3892100"/>
            <a:ext cx="725691" cy="677599"/>
            <a:chOff x="-5364163" y="-2738437"/>
            <a:chExt cx="4327525" cy="4054475"/>
          </a:xfrm>
          <a:solidFill>
            <a:schemeClr val="bg2"/>
          </a:solidFill>
        </p:grpSpPr>
        <p:sp>
          <p:nvSpPr>
            <p:cNvPr id="4"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5"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6"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7"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8"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2"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3"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4"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5"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6"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7"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8"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Tree>
    <p:extLst>
      <p:ext uri="{BB962C8B-B14F-4D97-AF65-F5344CB8AC3E}">
        <p14:creationId xmlns:p14="http://schemas.microsoft.com/office/powerpoint/2010/main" val="370380838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1000"/>
                                  </p:stCondLst>
                                  <p:childTnLst>
                                    <p:set>
                                      <p:cBhvr>
                                        <p:cTn id="10" dur="1" fill="hold">
                                          <p:stCondLst>
                                            <p:cond delay="0"/>
                                          </p:stCondLst>
                                        </p:cTn>
                                        <p:tgtEl>
                                          <p:spTgt spid="3"/>
                                        </p:tgtEl>
                                        <p:attrNameLst>
                                          <p:attrName>style.visibility</p:attrName>
                                        </p:attrNameLst>
                                      </p:cBhvr>
                                      <p:to>
                                        <p:strVal val="visible"/>
                                      </p:to>
                                    </p:set>
                                    <p:animEffect transition="in" filter="strips(downLeft)">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age</a:t>
            </a:r>
            <a:endParaRPr lang="en-US" dirty="0"/>
          </a:p>
        </p:txBody>
      </p:sp>
      <p:sp>
        <p:nvSpPr>
          <p:cNvPr id="3" name="Text Placeholder 2"/>
          <p:cNvSpPr>
            <a:spLocks noGrp="1"/>
          </p:cNvSpPr>
          <p:nvPr>
            <p:ph type="body" sz="quarter" idx="10"/>
          </p:nvPr>
        </p:nvSpPr>
        <p:spPr>
          <a:xfrm>
            <a:off x="269242" y="1189177"/>
            <a:ext cx="11653523" cy="2041488"/>
          </a:xfrm>
        </p:spPr>
        <p:txBody>
          <a:bodyPr/>
          <a:lstStyle/>
          <a:p>
            <a:r>
              <a:rPr lang="en-US" dirty="0" smtClean="0"/>
              <a:t>SQL Database</a:t>
            </a:r>
          </a:p>
          <a:p>
            <a:r>
              <a:rPr lang="en-US" dirty="0" smtClean="0"/>
              <a:t>Blob Storage</a:t>
            </a:r>
          </a:p>
          <a:p>
            <a:r>
              <a:rPr lang="en-US" dirty="0" smtClean="0"/>
              <a:t>Document DB</a:t>
            </a:r>
            <a:endParaRPr lang="en-US" dirty="0"/>
          </a:p>
        </p:txBody>
      </p:sp>
    </p:spTree>
    <p:extLst>
      <p:ext uri="{BB962C8B-B14F-4D97-AF65-F5344CB8AC3E}">
        <p14:creationId xmlns:p14="http://schemas.microsoft.com/office/powerpoint/2010/main" val="1922397458"/>
      </p:ext>
    </p:extLst>
  </p:cSld>
  <p:clrMapOvr>
    <a:masterClrMapping/>
  </p:clrMapOvr>
  <p:transition spd="slow">
    <p:push/>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337063" y="2084364"/>
            <a:ext cx="2644453" cy="268927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Analytics</a:t>
            </a:r>
          </a:p>
        </p:txBody>
      </p:sp>
      <p:grpSp>
        <p:nvGrpSpPr>
          <p:cNvPr id="3" name="Group 2"/>
          <p:cNvGrpSpPr/>
          <p:nvPr/>
        </p:nvGrpSpPr>
        <p:grpSpPr>
          <a:xfrm>
            <a:off x="9699391" y="3817977"/>
            <a:ext cx="998659" cy="749069"/>
            <a:chOff x="15319375" y="-157163"/>
            <a:chExt cx="2720976" cy="2047876"/>
          </a:xfrm>
          <a:solidFill>
            <a:schemeClr val="bg1"/>
          </a:solidFill>
        </p:grpSpPr>
        <p:sp>
          <p:nvSpPr>
            <p:cNvPr id="4"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5"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6"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7"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8"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2"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3"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Tree>
    <p:extLst>
      <p:ext uri="{BB962C8B-B14F-4D97-AF65-F5344CB8AC3E}">
        <p14:creationId xmlns:p14="http://schemas.microsoft.com/office/powerpoint/2010/main" val="144838068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75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1250"/>
                                  </p:stCondLst>
                                  <p:childTnLst>
                                    <p:set>
                                      <p:cBhvr>
                                        <p:cTn id="10" dur="1" fill="hold">
                                          <p:stCondLst>
                                            <p:cond delay="0"/>
                                          </p:stCondLst>
                                        </p:cTn>
                                        <p:tgtEl>
                                          <p:spTgt spid="3"/>
                                        </p:tgtEl>
                                        <p:attrNameLst>
                                          <p:attrName>style.visibility</p:attrName>
                                        </p:attrNameLst>
                                      </p:cBhvr>
                                      <p:to>
                                        <p:strVal val="visible"/>
                                      </p:to>
                                    </p:set>
                                    <p:animEffect transition="in" filter="strips(downLeft)">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upload.wikimedia.org/wikipedia/commons/thumb/0/06/DIKW_Pyramid.svg/494px-DIKW_Pyramid.sv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60624" y="419099"/>
            <a:ext cx="7445375" cy="5802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3406870"/>
      </p:ext>
    </p:extLst>
  </p:cSld>
  <p:clrMapOvr>
    <a:masterClrMapping/>
  </p:clrMapOvr>
  <p:transition spd="slow">
    <p:push/>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2" y="2798363"/>
            <a:ext cx="11653523" cy="1261274"/>
          </a:xfrm>
        </p:spPr>
        <p:txBody>
          <a:bodyPr anchor="ctr"/>
          <a:lstStyle/>
          <a:p>
            <a:pPr marL="0" indent="0" algn="ctr">
              <a:buNone/>
            </a:pPr>
            <a:r>
              <a:rPr lang="en-US" dirty="0" smtClean="0"/>
              <a:t>Do manufacturers know how to collect and use the data they generate?</a:t>
            </a:r>
            <a:endParaRPr lang="en-US" dirty="0"/>
          </a:p>
        </p:txBody>
      </p:sp>
    </p:spTree>
    <p:extLst>
      <p:ext uri="{BB962C8B-B14F-4D97-AF65-F5344CB8AC3E}">
        <p14:creationId xmlns:p14="http://schemas.microsoft.com/office/powerpoint/2010/main" val="3849234274"/>
      </p:ext>
    </p:extLst>
  </p:cSld>
  <p:clrMapOvr>
    <a:masterClrMapping/>
  </p:clrMapOvr>
  <p:transition spd="slow">
    <p:push/>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925" y="289512"/>
            <a:ext cx="11655840" cy="899665"/>
          </a:xfrm>
        </p:spPr>
        <p:txBody>
          <a:bodyPr/>
          <a:lstStyle/>
          <a:p>
            <a:r>
              <a:rPr lang="en-US" dirty="0" smtClean="0"/>
              <a:t> Stream Analytics</a:t>
            </a:r>
            <a:endParaRPr lang="en-US" dirty="0"/>
          </a:p>
        </p:txBody>
      </p:sp>
      <p:sp>
        <p:nvSpPr>
          <p:cNvPr id="3" name="Text Placeholder 2"/>
          <p:cNvSpPr>
            <a:spLocks noGrp="1"/>
          </p:cNvSpPr>
          <p:nvPr>
            <p:ph type="body" sz="quarter" idx="10"/>
          </p:nvPr>
        </p:nvSpPr>
        <p:spPr>
          <a:xfrm>
            <a:off x="269242" y="1189177"/>
            <a:ext cx="11653523" cy="721126"/>
          </a:xfrm>
        </p:spPr>
        <p:txBody>
          <a:bodyPr/>
          <a:lstStyle/>
          <a:p>
            <a:r>
              <a:rPr lang="en-US" dirty="0" smtClean="0"/>
              <a:t>Select * from Source</a:t>
            </a:r>
            <a:endParaRPr lang="en-US" dirty="0"/>
          </a:p>
        </p:txBody>
      </p:sp>
      <p:pic>
        <p:nvPicPr>
          <p:cNvPr id="4" name="Picture 3"/>
          <p:cNvPicPr>
            <a:picLocks noChangeAspect="1"/>
          </p:cNvPicPr>
          <p:nvPr/>
        </p:nvPicPr>
        <p:blipFill>
          <a:blip r:embed="rId3"/>
          <a:stretch>
            <a:fillRect/>
          </a:stretch>
        </p:blipFill>
        <p:spPr>
          <a:xfrm>
            <a:off x="1918335" y="1910303"/>
            <a:ext cx="8999883" cy="4947697"/>
          </a:xfrm>
          <a:prstGeom prst="rect">
            <a:avLst/>
          </a:prstGeom>
        </p:spPr>
      </p:pic>
    </p:spTree>
    <p:extLst>
      <p:ext uri="{BB962C8B-B14F-4D97-AF65-F5344CB8AC3E}">
        <p14:creationId xmlns:p14="http://schemas.microsoft.com/office/powerpoint/2010/main" val="3761946263"/>
      </p:ext>
    </p:extLst>
  </p:cSld>
  <p:clrMapOvr>
    <a:masterClrMapping/>
  </p:clrMapOvr>
  <p:transition spd="slow">
    <p:push/>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lvl="0"/>
            <a:r>
              <a:rPr lang="en-US" i="1" dirty="0"/>
              <a:t>Preventative</a:t>
            </a:r>
            <a:r>
              <a:rPr lang="en-US" dirty="0"/>
              <a:t> maintenance is largely ineffective</a:t>
            </a:r>
          </a:p>
          <a:p>
            <a:pPr lvl="0"/>
            <a:r>
              <a:rPr lang="en-US" dirty="0"/>
              <a:t>Age is </a:t>
            </a:r>
            <a:r>
              <a:rPr lang="en-US" b="1" dirty="0"/>
              <a:t>not</a:t>
            </a:r>
            <a:r>
              <a:rPr lang="en-US" dirty="0"/>
              <a:t> a good indicator of failure</a:t>
            </a:r>
          </a:p>
          <a:p>
            <a:endParaRPr lang="en-US" dirty="0"/>
          </a:p>
        </p:txBody>
      </p:sp>
      <p:sp>
        <p:nvSpPr>
          <p:cNvPr id="3" name="Title 2"/>
          <p:cNvSpPr>
            <a:spLocks noGrp="1"/>
          </p:cNvSpPr>
          <p:nvPr>
            <p:ph type="title"/>
          </p:nvPr>
        </p:nvSpPr>
        <p:spPr/>
        <p:txBody>
          <a:bodyPr/>
          <a:lstStyle/>
          <a:p>
            <a:r>
              <a:rPr lang="en-US" dirty="0" smtClean="0"/>
              <a:t>Machine Learning</a:t>
            </a:r>
            <a:br>
              <a:rPr lang="en-US" dirty="0" smtClean="0"/>
            </a:br>
            <a:endParaRPr lang="en-US" dirty="0"/>
          </a:p>
        </p:txBody>
      </p:sp>
      <p:sp>
        <p:nvSpPr>
          <p:cNvPr id="4" name="Rectangle 3"/>
          <p:cNvSpPr/>
          <p:nvPr/>
        </p:nvSpPr>
        <p:spPr>
          <a:xfrm>
            <a:off x="2495550" y="6386245"/>
            <a:ext cx="9696450" cy="369332"/>
          </a:xfrm>
          <a:prstGeom prst="rect">
            <a:avLst/>
          </a:prstGeom>
        </p:spPr>
        <p:txBody>
          <a:bodyPr wrap="square">
            <a:spAutoFit/>
          </a:bodyPr>
          <a:lstStyle/>
          <a:p>
            <a:r>
              <a:rPr lang="en-US" dirty="0">
                <a:hlinkClick r:id="rId3"/>
              </a:rPr>
              <a:t>http://www.arcweb.com/Blog/Post/260/Proactive-Asset-Management-with-IIoT-and-Analytics</a:t>
            </a:r>
            <a:endParaRPr lang="en-US" dirty="0"/>
          </a:p>
        </p:txBody>
      </p:sp>
    </p:spTree>
    <p:extLst>
      <p:ext uri="{BB962C8B-B14F-4D97-AF65-F5344CB8AC3E}">
        <p14:creationId xmlns:p14="http://schemas.microsoft.com/office/powerpoint/2010/main" val="339568986"/>
      </p:ext>
    </p:extLst>
  </p:cSld>
  <p:clrMapOvr>
    <a:masterClrMapping/>
  </p:clrMapOvr>
  <p:transition spd="slow">
    <p:push/>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PowerBI</a:t>
            </a:r>
            <a:r>
              <a:rPr lang="en-US" dirty="0" smtClean="0"/>
              <a:t/>
            </a:r>
            <a:br>
              <a:rPr lang="en-US" dirty="0" smtClean="0"/>
            </a:br>
            <a:endParaRPr lang="en-US" dirty="0"/>
          </a:p>
        </p:txBody>
      </p:sp>
      <p:pic>
        <p:nvPicPr>
          <p:cNvPr id="4098"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0097" y="1270587"/>
            <a:ext cx="8874125" cy="5587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7214993"/>
      </p:ext>
    </p:extLst>
  </p:cSld>
  <p:clrMapOvr>
    <a:masterClrMapping/>
  </p:clrMapOvr>
  <p:transition spd="slow">
    <p:push/>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54544" y="0"/>
            <a:ext cx="12746544" cy="6858000"/>
          </a:xfrm>
          <a:prstGeom prst="rect">
            <a:avLst/>
          </a:prstGeom>
        </p:spPr>
      </p:pic>
    </p:spTree>
    <p:extLst>
      <p:ext uri="{BB962C8B-B14F-4D97-AF65-F5344CB8AC3E}">
        <p14:creationId xmlns:p14="http://schemas.microsoft.com/office/powerpoint/2010/main" val="4210410170"/>
      </p:ext>
    </p:extLst>
  </p:cSld>
  <p:clrMapOvr>
    <a:masterClrMapping/>
  </p:clrMapOvr>
  <p:transition spd="slow">
    <p:push/>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4" name="Straight Arrow Connector 103"/>
          <p:cNvCxnSpPr/>
          <p:nvPr/>
        </p:nvCxnSpPr>
        <p:spPr>
          <a:xfrm flipV="1">
            <a:off x="2162713" y="2933492"/>
            <a:ext cx="1829684" cy="743"/>
          </a:xfrm>
          <a:prstGeom prst="straightConnector1">
            <a:avLst/>
          </a:prstGeom>
          <a:noFill/>
          <a:ln w="38100" cap="flat" cmpd="sng" algn="ctr">
            <a:solidFill>
              <a:srgbClr val="4472C4"/>
            </a:solidFill>
            <a:prstDash val="solid"/>
            <a:miter lim="800000"/>
            <a:headEnd type="triangle" w="med" len="med"/>
            <a:tailEnd type="triangle" w="med" len="med"/>
          </a:ln>
          <a:effectLst/>
        </p:spPr>
      </p:cxnSp>
      <p:sp>
        <p:nvSpPr>
          <p:cNvPr id="107" name="Oval 106"/>
          <p:cNvSpPr/>
          <p:nvPr/>
        </p:nvSpPr>
        <p:spPr>
          <a:xfrm>
            <a:off x="8549352" y="3388557"/>
            <a:ext cx="203713" cy="199433"/>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386">
              <a:defRPr/>
            </a:pPr>
            <a:endParaRPr lang="en-US" sz="1078" kern="0">
              <a:solidFill>
                <a:prstClr val="white"/>
              </a:solidFill>
              <a:cs typeface="Arial" panose="020B0604020202020204" pitchFamily="34" charset="0"/>
            </a:endParaRPr>
          </a:p>
        </p:txBody>
      </p:sp>
      <p:sp>
        <p:nvSpPr>
          <p:cNvPr id="108" name="Oval 107"/>
          <p:cNvSpPr/>
          <p:nvPr/>
        </p:nvSpPr>
        <p:spPr>
          <a:xfrm>
            <a:off x="8549352" y="3388557"/>
            <a:ext cx="203713" cy="199433"/>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algn="ctr" defTabSz="896386">
              <a:defRPr/>
            </a:pPr>
            <a:endParaRPr lang="en-US" sz="1078" kern="0">
              <a:solidFill>
                <a:prstClr val="white"/>
              </a:solidFill>
              <a:cs typeface="Arial" panose="020B0604020202020204" pitchFamily="34" charset="0"/>
            </a:endParaRPr>
          </a:p>
        </p:txBody>
      </p:sp>
      <p:sp>
        <p:nvSpPr>
          <p:cNvPr id="109" name="Rectangle 108"/>
          <p:cNvSpPr/>
          <p:nvPr/>
        </p:nvSpPr>
        <p:spPr>
          <a:xfrm>
            <a:off x="4045824" y="2209221"/>
            <a:ext cx="5344272" cy="2957510"/>
          </a:xfrm>
          <a:prstGeom prst="rect">
            <a:avLst/>
          </a:prstGeom>
          <a:ln w="12700">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896386">
              <a:defRPr/>
            </a:pPr>
            <a:endParaRPr lang="en-US" sz="1078" kern="0" dirty="0">
              <a:solidFill>
                <a:prstClr val="black"/>
              </a:solidFill>
              <a:cs typeface="Arial" panose="020B0604020202020204" pitchFamily="34" charset="0"/>
            </a:endParaRPr>
          </a:p>
        </p:txBody>
      </p:sp>
      <p:sp>
        <p:nvSpPr>
          <p:cNvPr id="110" name="Rectangle 109"/>
          <p:cNvSpPr/>
          <p:nvPr/>
        </p:nvSpPr>
        <p:spPr>
          <a:xfrm>
            <a:off x="7128324" y="2358512"/>
            <a:ext cx="2016936" cy="387092"/>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Device Management Portal</a:t>
            </a:r>
          </a:p>
        </p:txBody>
      </p:sp>
      <p:sp>
        <p:nvSpPr>
          <p:cNvPr id="111" name="Rectangle 110"/>
          <p:cNvSpPr/>
          <p:nvPr/>
        </p:nvSpPr>
        <p:spPr>
          <a:xfrm>
            <a:off x="5213235" y="2358512"/>
            <a:ext cx="1853970" cy="387092"/>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Provisioning API</a:t>
            </a:r>
          </a:p>
        </p:txBody>
      </p:sp>
      <p:sp>
        <p:nvSpPr>
          <p:cNvPr id="112" name="Rectangle 111"/>
          <p:cNvSpPr/>
          <p:nvPr/>
        </p:nvSpPr>
        <p:spPr>
          <a:xfrm>
            <a:off x="5213236" y="2989578"/>
            <a:ext cx="3015227" cy="290319"/>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140200" y="2745605"/>
            <a:ext cx="20" cy="243973"/>
          </a:xfrm>
          <a:prstGeom prst="straightConnector1">
            <a:avLst/>
          </a:prstGeom>
          <a:noFill/>
          <a:ln w="19050" cap="flat" cmpd="sng" algn="ctr">
            <a:solidFill>
              <a:srgbClr val="5A80CB"/>
            </a:solidFill>
            <a:prstDash val="solid"/>
            <a:miter lim="800000"/>
            <a:tailEnd type="triangle"/>
          </a:ln>
          <a:effectLst/>
        </p:spPr>
      </p:cxnSp>
      <p:cxnSp>
        <p:nvCxnSpPr>
          <p:cNvPr id="114" name="Straight Arrow Connector 113"/>
          <p:cNvCxnSpPr/>
          <p:nvPr/>
        </p:nvCxnSpPr>
        <p:spPr>
          <a:xfrm flipH="1">
            <a:off x="7724223" y="2731118"/>
            <a:ext cx="20" cy="243973"/>
          </a:xfrm>
          <a:prstGeom prst="straightConnector1">
            <a:avLst/>
          </a:prstGeom>
          <a:noFill/>
          <a:ln w="19050" cap="flat" cmpd="sng" algn="ctr">
            <a:solidFill>
              <a:srgbClr val="5A80CB"/>
            </a:solidFill>
            <a:prstDash val="solid"/>
            <a:miter lim="800000"/>
            <a:tailEnd type="triangle"/>
          </a:ln>
          <a:effectLst/>
        </p:spPr>
      </p:cxnSp>
      <p:cxnSp>
        <p:nvCxnSpPr>
          <p:cNvPr id="115" name="Straight Arrow Connector 114"/>
          <p:cNvCxnSpPr/>
          <p:nvPr/>
        </p:nvCxnSpPr>
        <p:spPr>
          <a:xfrm flipH="1">
            <a:off x="8651208" y="2745605"/>
            <a:ext cx="20" cy="243973"/>
          </a:xfrm>
          <a:prstGeom prst="straightConnector1">
            <a:avLst/>
          </a:prstGeom>
          <a:noFill/>
          <a:ln w="19050" cap="flat" cmpd="sng" algn="ctr">
            <a:solidFill>
              <a:srgbClr val="5A80CB"/>
            </a:solidFill>
            <a:prstDash val="solid"/>
            <a:miter lim="800000"/>
            <a:tailEnd type="triangle"/>
          </a:ln>
          <a:effectLst/>
        </p:spPr>
      </p:cxnSp>
      <p:sp>
        <p:nvSpPr>
          <p:cNvPr id="128" name="Oval 127"/>
          <p:cNvSpPr/>
          <p:nvPr/>
        </p:nvSpPr>
        <p:spPr>
          <a:xfrm>
            <a:off x="8549352" y="3388557"/>
            <a:ext cx="203713" cy="199433"/>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386">
              <a:defRPr/>
            </a:pPr>
            <a:endParaRPr lang="en-US" sz="1078" kern="0">
              <a:solidFill>
                <a:prstClr val="white"/>
              </a:solidFill>
              <a:cs typeface="Arial" panose="020B0604020202020204" pitchFamily="34" charset="0"/>
            </a:endParaRPr>
          </a:p>
        </p:txBody>
      </p:sp>
      <p:sp>
        <p:nvSpPr>
          <p:cNvPr id="129" name="Rectangle 128"/>
          <p:cNvSpPr/>
          <p:nvPr/>
        </p:nvSpPr>
        <p:spPr>
          <a:xfrm>
            <a:off x="5213234" y="3792913"/>
            <a:ext cx="3932025" cy="365422"/>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896386">
              <a:defRPr/>
            </a:pPr>
            <a:r>
              <a:rPr lang="en-US" sz="1078" kern="0" dirty="0" smtClean="0">
                <a:solidFill>
                  <a:prstClr val="white"/>
                </a:solidFill>
                <a:cs typeface="Arial" panose="020B0604020202020204" pitchFamily="34" charset="0"/>
              </a:rPr>
              <a:t>Stream Event Processor</a:t>
            </a:r>
            <a:endParaRPr lang="en-US" sz="1078" kern="0" dirty="0">
              <a:solidFill>
                <a:prstClr val="white"/>
              </a:solidFill>
              <a:cs typeface="Arial" panose="020B0604020202020204" pitchFamily="34" charset="0"/>
            </a:endParaRPr>
          </a:p>
        </p:txBody>
      </p:sp>
      <p:sp>
        <p:nvSpPr>
          <p:cNvPr id="132" name="Rectangle 131"/>
          <p:cNvSpPr/>
          <p:nvPr/>
        </p:nvSpPr>
        <p:spPr>
          <a:xfrm>
            <a:off x="8257079" y="4304407"/>
            <a:ext cx="841872" cy="761897"/>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Analytics/ Machine Learning</a:t>
            </a:r>
          </a:p>
        </p:txBody>
      </p:sp>
      <p:cxnSp>
        <p:nvCxnSpPr>
          <p:cNvPr id="135" name="Straight Arrow Connector 134"/>
          <p:cNvCxnSpPr>
            <a:endCxn id="129" idx="1"/>
          </p:cNvCxnSpPr>
          <p:nvPr/>
        </p:nvCxnSpPr>
        <p:spPr>
          <a:xfrm>
            <a:off x="4663475" y="3975624"/>
            <a:ext cx="549759" cy="0"/>
          </a:xfrm>
          <a:prstGeom prst="straightConnector1">
            <a:avLst/>
          </a:prstGeom>
          <a:noFill/>
          <a:ln w="19050" cap="flat" cmpd="sng" algn="ctr">
            <a:solidFill>
              <a:srgbClr val="4472C4"/>
            </a:solidFill>
            <a:prstDash val="solid"/>
            <a:miter lim="800000"/>
            <a:tailEnd type="triangle"/>
          </a:ln>
          <a:effectLst/>
        </p:spPr>
      </p:cxnSp>
      <p:sp>
        <p:nvSpPr>
          <p:cNvPr id="140" name="Rectangle 139"/>
          <p:cNvSpPr/>
          <p:nvPr/>
        </p:nvSpPr>
        <p:spPr>
          <a:xfrm>
            <a:off x="9895530" y="2209221"/>
            <a:ext cx="1422503" cy="2957510"/>
          </a:xfrm>
          <a:prstGeom prst="rect">
            <a:avLst/>
          </a:prstGeom>
          <a:solidFill>
            <a:srgbClr val="5A80CB"/>
          </a:solidFill>
          <a:ln w="12700" cap="flat" cmpd="sng" algn="ctr">
            <a:noFill/>
            <a:prstDash val="solid"/>
            <a:miter lim="800000"/>
          </a:ln>
          <a:effectLst/>
        </p:spPr>
        <p:txBody>
          <a:bodyPr rtlCol="0" anchor="ctr"/>
          <a:lstStyle/>
          <a:p>
            <a:pPr algn="ctr" defTabSz="896386">
              <a:defRPr/>
            </a:pPr>
            <a:r>
              <a:rPr lang="en-US" sz="1078" kern="0" dirty="0" smtClean="0">
                <a:solidFill>
                  <a:schemeClr val="bg1"/>
                </a:solidFill>
                <a:cs typeface="Arial" panose="020B0604020202020204" pitchFamily="34" charset="0"/>
              </a:rPr>
              <a:t>Data Visualization &amp; Presentation</a:t>
            </a:r>
            <a:endParaRPr lang="en-US" sz="1078" kern="0" dirty="0">
              <a:solidFill>
                <a:schemeClr val="bg1"/>
              </a:solidFill>
              <a:cs typeface="Arial" panose="020B0604020202020204" pitchFamily="34" charset="0"/>
            </a:endParaRPr>
          </a:p>
        </p:txBody>
      </p:sp>
      <p:sp>
        <p:nvSpPr>
          <p:cNvPr id="149" name="L-Shape 148"/>
          <p:cNvSpPr/>
          <p:nvPr/>
        </p:nvSpPr>
        <p:spPr>
          <a:xfrm flipH="1">
            <a:off x="5213235" y="2989577"/>
            <a:ext cx="3932025" cy="598413"/>
          </a:xfrm>
          <a:prstGeom prst="corner">
            <a:avLst>
              <a:gd name="adj1" fmla="val 46089"/>
              <a:gd name="adj2" fmla="val 146666"/>
            </a:avLst>
          </a:prstGeom>
          <a:solidFill>
            <a:srgbClr val="5A80CB"/>
          </a:solidFill>
          <a:ln w="190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Device State Store (last known state)</a:t>
            </a:r>
          </a:p>
        </p:txBody>
      </p:sp>
      <p:sp>
        <p:nvSpPr>
          <p:cNvPr id="121" name="Rectangle 120"/>
          <p:cNvSpPr/>
          <p:nvPr/>
        </p:nvSpPr>
        <p:spPr>
          <a:xfrm>
            <a:off x="2526983" y="4205387"/>
            <a:ext cx="1101145" cy="892552"/>
          </a:xfrm>
          <a:prstGeom prst="rect">
            <a:avLst/>
          </a:prstGeom>
          <a:noFill/>
          <a:ln w="12700" cap="flat" cmpd="sng" algn="ctr">
            <a:solidFill>
              <a:sysClr val="windowText" lastClr="000000"/>
            </a:solidFill>
            <a:prstDash val="dash"/>
            <a:miter lim="800000"/>
          </a:ln>
          <a:effectLst/>
        </p:spPr>
        <p:txBody>
          <a:bodyPr rtlCol="0" anchor="ctr"/>
          <a:lstStyle/>
          <a:p>
            <a:pPr algn="ctr" defTabSz="896386">
              <a:defRPr/>
            </a:pPr>
            <a:r>
              <a:rPr lang="en-US" sz="1078" kern="0" dirty="0" smtClean="0">
                <a:solidFill>
                  <a:prstClr val="black"/>
                </a:solidFill>
                <a:cs typeface="Arial" panose="020B0604020202020204" pitchFamily="34" charset="0"/>
              </a:rPr>
              <a:t>Field</a:t>
            </a:r>
          </a:p>
          <a:p>
            <a:pPr algn="ctr" defTabSz="896386">
              <a:defRPr/>
            </a:pPr>
            <a:r>
              <a:rPr lang="en-US" sz="1078" kern="0" dirty="0" smtClean="0">
                <a:solidFill>
                  <a:prstClr val="black"/>
                </a:solidFill>
                <a:cs typeface="Arial" panose="020B0604020202020204" pitchFamily="34" charset="0"/>
              </a:rPr>
              <a:t>Gateway</a:t>
            </a:r>
            <a:endParaRPr lang="en-US" sz="1078" kern="0" dirty="0">
              <a:solidFill>
                <a:prstClr val="black"/>
              </a:solidFill>
              <a:cs typeface="Arial" panose="020B0604020202020204" pitchFamily="34" charset="0"/>
            </a:endParaRPr>
          </a:p>
        </p:txBody>
      </p:sp>
      <p:sp>
        <p:nvSpPr>
          <p:cNvPr id="76" name="Title 1"/>
          <p:cNvSpPr>
            <a:spLocks noGrp="1"/>
          </p:cNvSpPr>
          <p:nvPr>
            <p:ph type="title"/>
          </p:nvPr>
        </p:nvSpPr>
        <p:spPr>
          <a:xfrm>
            <a:off x="457201" y="252621"/>
            <a:ext cx="10971867" cy="661720"/>
          </a:xfrm>
        </p:spPr>
        <p:txBody>
          <a:bodyPr>
            <a:normAutofit fontScale="90000"/>
          </a:bodyPr>
          <a:lstStyle/>
          <a:p>
            <a:r>
              <a:rPr lang="en-US" sz="4800" dirty="0" smtClean="0">
                <a:solidFill>
                  <a:schemeClr val="accent6"/>
                </a:solidFill>
              </a:rPr>
              <a:t>Azure IoT services Reference Architecture</a:t>
            </a:r>
            <a:endParaRPr lang="en-US" sz="4800" dirty="0">
              <a:solidFill>
                <a:schemeClr val="accent6"/>
              </a:solidFill>
            </a:endParaRPr>
          </a:p>
        </p:txBody>
      </p:sp>
      <p:sp>
        <p:nvSpPr>
          <p:cNvPr id="39" name="Rectangle 38"/>
          <p:cNvSpPr/>
          <p:nvPr/>
        </p:nvSpPr>
        <p:spPr>
          <a:xfrm>
            <a:off x="5213234" y="4304407"/>
            <a:ext cx="841872" cy="761897"/>
          </a:xfrm>
          <a:prstGeom prst="rect">
            <a:avLst/>
          </a:prstGeom>
          <a:solidFill>
            <a:srgbClr val="5A80CB"/>
          </a:solidFill>
          <a:ln w="190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Storage</a:t>
            </a:r>
          </a:p>
        </p:txBody>
      </p:sp>
      <p:cxnSp>
        <p:nvCxnSpPr>
          <p:cNvPr id="7" name="Straight Arrow Connector 6"/>
          <p:cNvCxnSpPr/>
          <p:nvPr/>
        </p:nvCxnSpPr>
        <p:spPr>
          <a:xfrm flipH="1">
            <a:off x="6055106" y="4732981"/>
            <a:ext cx="2201973" cy="0"/>
          </a:xfrm>
          <a:prstGeom prst="straightConnector1">
            <a:avLst/>
          </a:prstGeom>
          <a:ln w="19050">
            <a:solidFill>
              <a:srgbClr val="4071CA"/>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8651208" y="3587990"/>
            <a:ext cx="0" cy="296721"/>
          </a:xfrm>
          <a:prstGeom prst="straightConnector1">
            <a:avLst/>
          </a:prstGeom>
          <a:noFill/>
          <a:ln w="19050" cap="flat" cmpd="sng" algn="ctr">
            <a:solidFill>
              <a:srgbClr val="5A80CB"/>
            </a:solidFill>
            <a:prstDash val="solid"/>
            <a:miter lim="800000"/>
            <a:tailEnd type="triangle"/>
          </a:ln>
          <a:effectLst/>
        </p:spPr>
      </p:cxnSp>
      <p:sp>
        <p:nvSpPr>
          <p:cNvPr id="57" name="TextBox 56"/>
          <p:cNvSpPr txBox="1"/>
          <p:nvPr/>
        </p:nvSpPr>
        <p:spPr>
          <a:xfrm>
            <a:off x="765533" y="2420742"/>
            <a:ext cx="1346546" cy="948463"/>
          </a:xfrm>
          <a:prstGeom prst="roundRect">
            <a:avLst/>
          </a:prstGeom>
          <a:ln>
            <a:solidFill>
              <a:srgbClr val="5A80CB"/>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t>IP capable </a:t>
            </a:r>
            <a:r>
              <a:rPr lang="en-US" dirty="0" smtClean="0"/>
              <a:t>devices</a:t>
            </a:r>
            <a:endParaRPr lang="en-US" dirty="0"/>
          </a:p>
        </p:txBody>
      </p:sp>
      <p:sp>
        <p:nvSpPr>
          <p:cNvPr id="59" name="TextBox 58"/>
          <p:cNvSpPr txBox="1"/>
          <p:nvPr/>
        </p:nvSpPr>
        <p:spPr>
          <a:xfrm>
            <a:off x="765533" y="3696126"/>
            <a:ext cx="1346546" cy="871426"/>
          </a:xfrm>
          <a:prstGeom prst="roundRect">
            <a:avLst/>
          </a:prstGeom>
          <a:ln>
            <a:solidFill>
              <a:srgbClr val="5A80CB"/>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Legacy IOT devices</a:t>
            </a:r>
          </a:p>
          <a:p>
            <a:endParaRPr lang="en-US" dirty="0"/>
          </a:p>
        </p:txBody>
      </p:sp>
      <p:sp>
        <p:nvSpPr>
          <p:cNvPr id="60" name="TextBox 59"/>
          <p:cNvSpPr txBox="1"/>
          <p:nvPr/>
        </p:nvSpPr>
        <p:spPr>
          <a:xfrm>
            <a:off x="765533" y="4894473"/>
            <a:ext cx="1346546" cy="782118"/>
          </a:xfrm>
          <a:prstGeom prst="roundRect">
            <a:avLst/>
          </a:prstGeom>
          <a:ln>
            <a:solidFill>
              <a:srgbClr val="5A80CB"/>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t>Low power devices </a:t>
            </a:r>
          </a:p>
        </p:txBody>
      </p:sp>
      <p:sp>
        <p:nvSpPr>
          <p:cNvPr id="61" name="Rectangle 60"/>
          <p:cNvSpPr/>
          <p:nvPr/>
        </p:nvSpPr>
        <p:spPr bwMode="auto">
          <a:xfrm>
            <a:off x="9901218" y="1255841"/>
            <a:ext cx="1422074" cy="580999"/>
          </a:xfrm>
          <a:prstGeom prst="rect">
            <a:avLst/>
          </a:prstGeom>
          <a:solidFill>
            <a:schemeClr val="accent5"/>
          </a:solidFill>
          <a:ln w="10795" cap="flat" cmpd="sng" algn="ctr">
            <a:noFill/>
            <a:prstDash val="solid"/>
            <a:headEnd type="none" w="med" len="med"/>
            <a:tailEnd type="none" w="med" len="med"/>
          </a:ln>
          <a:effectLst/>
        </p:spPr>
        <p:txBody>
          <a:bodyPr vert="horz" wrap="square" lIns="179259" tIns="179259" rIns="179259" bIns="143407" numCol="1" rtlCol="0" anchor="t" anchorCtr="0" compatLnSpc="1">
            <a:prstTxWarp prst="textNoShape">
              <a:avLst/>
            </a:prstTxWarp>
            <a:noAutofit/>
          </a:bodyPr>
          <a:lstStyle/>
          <a:p>
            <a:pPr algn="ctr" defTabSz="913927" fontAlgn="base">
              <a:lnSpc>
                <a:spcPct val="90000"/>
              </a:lnSpc>
              <a:spcBef>
                <a:spcPct val="0"/>
              </a:spcBef>
              <a:spcAft>
                <a:spcPct val="0"/>
              </a:spcAft>
              <a:defRPr/>
            </a:pPr>
            <a:r>
              <a:rPr lang="en-US" sz="1100" kern="0" dirty="0">
                <a:gradFill>
                  <a:gsLst>
                    <a:gs pos="0">
                      <a:srgbClr val="FFFFFF"/>
                    </a:gs>
                    <a:gs pos="100000">
                      <a:srgbClr val="FFFFFF"/>
                    </a:gs>
                  </a:gsLst>
                  <a:lin ang="5400000" scaled="0"/>
                </a:gradFill>
              </a:rPr>
              <a:t>Presentation </a:t>
            </a:r>
          </a:p>
        </p:txBody>
      </p:sp>
      <p:sp>
        <p:nvSpPr>
          <p:cNvPr id="62" name="Rectangle 61"/>
          <p:cNvSpPr/>
          <p:nvPr/>
        </p:nvSpPr>
        <p:spPr bwMode="auto">
          <a:xfrm>
            <a:off x="4051083" y="1255841"/>
            <a:ext cx="5344272" cy="578852"/>
          </a:xfrm>
          <a:prstGeom prst="rect">
            <a:avLst/>
          </a:prstGeom>
          <a:solidFill>
            <a:schemeClr val="accent5"/>
          </a:solidFill>
          <a:ln w="10795" cap="flat" cmpd="sng" algn="ctr">
            <a:noFill/>
            <a:prstDash val="solid"/>
            <a:headEnd type="none" w="med" len="med"/>
            <a:tailEnd type="none" w="med" len="med"/>
          </a:ln>
          <a:effectLst/>
        </p:spPr>
        <p:txBody>
          <a:bodyPr vert="horz" wrap="square" lIns="179259" tIns="179259" rIns="179259" bIns="143407" numCol="1" rtlCol="0" anchor="t" anchorCtr="0" compatLnSpc="1">
            <a:prstTxWarp prst="textNoShape">
              <a:avLst/>
            </a:prstTxWarp>
            <a:noAutofit/>
          </a:bodyPr>
          <a:lstStyle/>
          <a:p>
            <a:pPr algn="ctr" defTabSz="913927" fontAlgn="base">
              <a:lnSpc>
                <a:spcPct val="90000"/>
              </a:lnSpc>
              <a:spcBef>
                <a:spcPct val="0"/>
              </a:spcBef>
              <a:spcAft>
                <a:spcPct val="0"/>
              </a:spcAft>
              <a:defRPr/>
            </a:pPr>
            <a:r>
              <a:rPr lang="en-US" sz="1100" kern="0" dirty="0">
                <a:solidFill>
                  <a:schemeClr val="bg1"/>
                </a:solidFill>
              </a:rPr>
              <a:t>Device and Event Processing</a:t>
            </a:r>
          </a:p>
        </p:txBody>
      </p:sp>
      <p:sp>
        <p:nvSpPr>
          <p:cNvPr id="64" name="Rectangle 63"/>
          <p:cNvSpPr/>
          <p:nvPr/>
        </p:nvSpPr>
        <p:spPr bwMode="auto">
          <a:xfrm>
            <a:off x="2371777" y="1255841"/>
            <a:ext cx="1422074" cy="580999"/>
          </a:xfrm>
          <a:prstGeom prst="rect">
            <a:avLst/>
          </a:prstGeom>
          <a:solidFill>
            <a:schemeClr val="accent5"/>
          </a:solidFill>
          <a:ln w="10795" cap="flat" cmpd="sng" algn="ctr">
            <a:noFill/>
            <a:prstDash val="solid"/>
            <a:headEnd type="none" w="med" len="med"/>
            <a:tailEnd type="none" w="med" len="med"/>
          </a:ln>
          <a:effectLst/>
        </p:spPr>
        <p:txBody>
          <a:bodyPr vert="horz" wrap="square" lIns="179259" tIns="179259" rIns="179259" bIns="143407" numCol="1" rtlCol="0" anchor="t" anchorCtr="0" compatLnSpc="1">
            <a:prstTxWarp prst="textNoShape">
              <a:avLst/>
            </a:prstTxWarp>
            <a:noAutofit/>
          </a:bodyPr>
          <a:lstStyle/>
          <a:p>
            <a:pPr algn="ctr" defTabSz="913927" fontAlgn="base">
              <a:lnSpc>
                <a:spcPct val="90000"/>
              </a:lnSpc>
              <a:spcBef>
                <a:spcPct val="0"/>
              </a:spcBef>
              <a:spcAft>
                <a:spcPct val="0"/>
              </a:spcAft>
              <a:defRPr/>
            </a:pPr>
            <a:r>
              <a:rPr lang="en-US" sz="1100" kern="0" dirty="0">
                <a:solidFill>
                  <a:srgbClr val="FFFFFF"/>
                </a:solidFill>
              </a:rPr>
              <a:t>Data Transport</a:t>
            </a:r>
          </a:p>
        </p:txBody>
      </p:sp>
      <p:sp>
        <p:nvSpPr>
          <p:cNvPr id="65" name="Rectangle 64"/>
          <p:cNvSpPr/>
          <p:nvPr/>
        </p:nvSpPr>
        <p:spPr bwMode="auto">
          <a:xfrm>
            <a:off x="733028" y="1255841"/>
            <a:ext cx="1422074" cy="580999"/>
          </a:xfrm>
          <a:prstGeom prst="rect">
            <a:avLst/>
          </a:prstGeom>
          <a:solidFill>
            <a:schemeClr val="accent5"/>
          </a:solidFill>
          <a:ln w="10795" cap="flat" cmpd="sng" algn="ctr">
            <a:noFill/>
            <a:prstDash val="solid"/>
            <a:headEnd type="none" w="med" len="med"/>
            <a:tailEnd type="none" w="med" len="med"/>
          </a:ln>
          <a:effectLst/>
        </p:spPr>
        <p:txBody>
          <a:bodyPr vert="horz" wrap="square" lIns="179259" tIns="179259" rIns="179259" bIns="143407" numCol="1" rtlCol="0" anchor="t" anchorCtr="0" compatLnSpc="1">
            <a:prstTxWarp prst="textNoShape">
              <a:avLst/>
            </a:prstTxWarp>
            <a:noAutofit/>
          </a:bodyPr>
          <a:lstStyle/>
          <a:p>
            <a:pPr algn="ctr" defTabSz="913927" fontAlgn="base">
              <a:lnSpc>
                <a:spcPct val="90000"/>
              </a:lnSpc>
              <a:spcBef>
                <a:spcPct val="0"/>
              </a:spcBef>
              <a:spcAft>
                <a:spcPct val="0"/>
              </a:spcAft>
              <a:defRPr/>
            </a:pPr>
            <a:r>
              <a:rPr lang="en-US" sz="1100" kern="0" dirty="0">
                <a:solidFill>
                  <a:srgbClr val="FFFFFF"/>
                </a:solidFill>
              </a:rPr>
              <a:t>Devices and Data Sources</a:t>
            </a:r>
          </a:p>
        </p:txBody>
      </p:sp>
      <p:cxnSp>
        <p:nvCxnSpPr>
          <p:cNvPr id="25" name="Elbow Connector 24"/>
          <p:cNvCxnSpPr>
            <a:stCxn id="129" idx="2"/>
          </p:cNvCxnSpPr>
          <p:nvPr/>
        </p:nvCxnSpPr>
        <p:spPr>
          <a:xfrm rot="5400000">
            <a:off x="6417712" y="3795730"/>
            <a:ext cx="398931" cy="1124141"/>
          </a:xfrm>
          <a:prstGeom prst="bentConnector2">
            <a:avLst/>
          </a:prstGeom>
          <a:ln w="19050">
            <a:solidFill>
              <a:srgbClr val="4071CA"/>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438788" y="4085698"/>
            <a:ext cx="439546" cy="1486"/>
          </a:xfrm>
          <a:prstGeom prst="straightConnector1">
            <a:avLst/>
          </a:prstGeom>
          <a:noFill/>
          <a:ln w="38100" cap="flat" cmpd="sng" algn="ctr">
            <a:solidFill>
              <a:srgbClr val="4472C4"/>
            </a:solidFill>
            <a:prstDash val="solid"/>
            <a:miter lim="800000"/>
            <a:headEnd type="triangle" w="med" len="med"/>
            <a:tailEnd type="triangle" w="med" len="med"/>
          </a:ln>
          <a:effectLst/>
        </p:spPr>
      </p:cxnSp>
      <p:sp>
        <p:nvSpPr>
          <p:cNvPr id="72" name="Freeform 71"/>
          <p:cNvSpPr/>
          <p:nvPr/>
        </p:nvSpPr>
        <p:spPr bwMode="auto">
          <a:xfrm>
            <a:off x="1" y="6139310"/>
            <a:ext cx="12191999" cy="751294"/>
          </a:xfrm>
          <a:custGeom>
            <a:avLst/>
            <a:gdLst>
              <a:gd name="connsiteX0" fmla="*/ 12192000 w 12192000"/>
              <a:gd name="connsiteY0" fmla="*/ 0 h 685064"/>
              <a:gd name="connsiteX1" fmla="*/ 12192000 w 12192000"/>
              <a:gd name="connsiteY1" fmla="*/ 685064 h 685064"/>
              <a:gd name="connsiteX2" fmla="*/ 0 w 12192000"/>
              <a:gd name="connsiteY2" fmla="*/ 685064 h 685064"/>
              <a:gd name="connsiteX3" fmla="*/ 0 w 12192000"/>
              <a:gd name="connsiteY3" fmla="*/ 628972 h 685064"/>
              <a:gd name="connsiteX4" fmla="*/ 139734 w 12192000"/>
              <a:gd name="connsiteY4" fmla="*/ 595896 h 685064"/>
              <a:gd name="connsiteX5" fmla="*/ 2603500 w 12192000"/>
              <a:gd name="connsiteY5" fmla="*/ 278664 h 685064"/>
              <a:gd name="connsiteX6" fmla="*/ 7112000 w 12192000"/>
              <a:gd name="connsiteY6" fmla="*/ 634264 h 685064"/>
              <a:gd name="connsiteX7" fmla="*/ 12102114 w 12192000"/>
              <a:gd name="connsiteY7" fmla="*/ 652 h 685064"/>
              <a:gd name="connsiteX0" fmla="*/ 12192000 w 12192000"/>
              <a:gd name="connsiteY0" fmla="*/ 89 h 685153"/>
              <a:gd name="connsiteX1" fmla="*/ 12192000 w 12192000"/>
              <a:gd name="connsiteY1" fmla="*/ 685153 h 685153"/>
              <a:gd name="connsiteX2" fmla="*/ 0 w 12192000"/>
              <a:gd name="connsiteY2" fmla="*/ 685153 h 685153"/>
              <a:gd name="connsiteX3" fmla="*/ 0 w 12192000"/>
              <a:gd name="connsiteY3" fmla="*/ 629061 h 685153"/>
              <a:gd name="connsiteX4" fmla="*/ 139734 w 12192000"/>
              <a:gd name="connsiteY4" fmla="*/ 595985 h 685153"/>
              <a:gd name="connsiteX5" fmla="*/ 2603500 w 12192000"/>
              <a:gd name="connsiteY5" fmla="*/ 278753 h 685153"/>
              <a:gd name="connsiteX6" fmla="*/ 7112000 w 12192000"/>
              <a:gd name="connsiteY6" fmla="*/ 634353 h 685153"/>
              <a:gd name="connsiteX7" fmla="*/ 12192000 w 12192000"/>
              <a:gd name="connsiteY7" fmla="*/ 89 h 685153"/>
              <a:gd name="connsiteX0" fmla="*/ 12192000 w 12192000"/>
              <a:gd name="connsiteY0" fmla="*/ 138 h 474668"/>
              <a:gd name="connsiteX1" fmla="*/ 12192000 w 12192000"/>
              <a:gd name="connsiteY1" fmla="*/ 474668 h 474668"/>
              <a:gd name="connsiteX2" fmla="*/ 0 w 12192000"/>
              <a:gd name="connsiteY2" fmla="*/ 474668 h 474668"/>
              <a:gd name="connsiteX3" fmla="*/ 0 w 12192000"/>
              <a:gd name="connsiteY3" fmla="*/ 418576 h 474668"/>
              <a:gd name="connsiteX4" fmla="*/ 139734 w 12192000"/>
              <a:gd name="connsiteY4" fmla="*/ 385500 h 474668"/>
              <a:gd name="connsiteX5" fmla="*/ 2603500 w 12192000"/>
              <a:gd name="connsiteY5" fmla="*/ 68268 h 474668"/>
              <a:gd name="connsiteX6" fmla="*/ 7112000 w 12192000"/>
              <a:gd name="connsiteY6" fmla="*/ 423868 h 474668"/>
              <a:gd name="connsiteX7" fmla="*/ 12192000 w 12192000"/>
              <a:gd name="connsiteY7" fmla="*/ 138 h 474668"/>
              <a:gd name="connsiteX0" fmla="*/ 12192000 w 12192000"/>
              <a:gd name="connsiteY0" fmla="*/ 88549 h 563079"/>
              <a:gd name="connsiteX1" fmla="*/ 12192000 w 12192000"/>
              <a:gd name="connsiteY1" fmla="*/ 563079 h 563079"/>
              <a:gd name="connsiteX2" fmla="*/ 0 w 12192000"/>
              <a:gd name="connsiteY2" fmla="*/ 563079 h 563079"/>
              <a:gd name="connsiteX3" fmla="*/ 0 w 12192000"/>
              <a:gd name="connsiteY3" fmla="*/ 506987 h 563079"/>
              <a:gd name="connsiteX4" fmla="*/ 139734 w 12192000"/>
              <a:gd name="connsiteY4" fmla="*/ 473911 h 563079"/>
              <a:gd name="connsiteX5" fmla="*/ 2603500 w 12192000"/>
              <a:gd name="connsiteY5" fmla="*/ 156679 h 563079"/>
              <a:gd name="connsiteX6" fmla="*/ 7112000 w 12192000"/>
              <a:gd name="connsiteY6" fmla="*/ 512279 h 563079"/>
              <a:gd name="connsiteX7" fmla="*/ 12192000 w 12192000"/>
              <a:gd name="connsiteY7" fmla="*/ 88549 h 56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63079">
                <a:moveTo>
                  <a:pt x="12192000" y="88549"/>
                </a:moveTo>
                <a:lnTo>
                  <a:pt x="12192000" y="563079"/>
                </a:lnTo>
                <a:lnTo>
                  <a:pt x="0" y="563079"/>
                </a:lnTo>
                <a:lnTo>
                  <a:pt x="0" y="506987"/>
                </a:lnTo>
                <a:lnTo>
                  <a:pt x="139734" y="473911"/>
                </a:lnTo>
                <a:cubicBezTo>
                  <a:pt x="844709" y="322173"/>
                  <a:pt x="1915915" y="185618"/>
                  <a:pt x="2603500" y="156679"/>
                </a:cubicBezTo>
                <a:cubicBezTo>
                  <a:pt x="3860801" y="103762"/>
                  <a:pt x="5496983" y="558846"/>
                  <a:pt x="7112000" y="512279"/>
                </a:cubicBezTo>
                <a:cubicBezTo>
                  <a:pt x="8710083" y="465835"/>
                  <a:pt x="11154833" y="-244490"/>
                  <a:pt x="12192000" y="88549"/>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7" tIns="143310" rIns="179137" bIns="143310" numCol="1" spcCol="0" rtlCol="0" fromWordArt="0" anchor="t" anchorCtr="0" forceAA="0" compatLnSpc="1">
            <a:prstTxWarp prst="textNoShape">
              <a:avLst/>
            </a:prstTxWarp>
            <a:noAutofit/>
          </a:bodyPr>
          <a:lstStyle/>
          <a:p>
            <a:pPr algn="ctr" defTabSz="913299"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72"/>
          <p:cNvGrpSpPr/>
          <p:nvPr/>
        </p:nvGrpSpPr>
        <p:grpSpPr>
          <a:xfrm>
            <a:off x="11087006" y="5838784"/>
            <a:ext cx="989349" cy="912399"/>
            <a:chOff x="2952434" y="-395679"/>
            <a:chExt cx="1665341" cy="1535810"/>
          </a:xfrm>
        </p:grpSpPr>
        <p:sp>
          <p:nvSpPr>
            <p:cNvPr id="74" name="Teardrop 9"/>
            <p:cNvSpPr>
              <a:spLocks noChangeAspect="1"/>
            </p:cNvSpPr>
            <p:nvPr/>
          </p:nvSpPr>
          <p:spPr>
            <a:xfrm rot="19062968">
              <a:off x="2952434" y="-77135"/>
              <a:ext cx="863221" cy="914400"/>
            </a:xfrm>
            <a:custGeom>
              <a:avLst/>
              <a:gdLst>
                <a:gd name="connsiteX0" fmla="*/ 0 w 274320"/>
                <a:gd name="connsiteY0" fmla="*/ 137160 h 274320"/>
                <a:gd name="connsiteX1" fmla="*/ 137160 w 274320"/>
                <a:gd name="connsiteY1" fmla="*/ 0 h 274320"/>
                <a:gd name="connsiteX2" fmla="*/ 274320 w 274320"/>
                <a:gd name="connsiteY2" fmla="*/ 0 h 274320"/>
                <a:gd name="connsiteX3" fmla="*/ 274320 w 274320"/>
                <a:gd name="connsiteY3" fmla="*/ 137160 h 274320"/>
                <a:gd name="connsiteX4" fmla="*/ 137160 w 274320"/>
                <a:gd name="connsiteY4" fmla="*/ 274320 h 274320"/>
                <a:gd name="connsiteX5" fmla="*/ 0 w 274320"/>
                <a:gd name="connsiteY5" fmla="*/ 137160 h 274320"/>
                <a:gd name="connsiteX0" fmla="*/ 0 w 274320"/>
                <a:gd name="connsiteY0" fmla="*/ 137160 h 274320"/>
                <a:gd name="connsiteX1" fmla="*/ 274320 w 274320"/>
                <a:gd name="connsiteY1" fmla="*/ 0 h 274320"/>
                <a:gd name="connsiteX2" fmla="*/ 274320 w 274320"/>
                <a:gd name="connsiteY2" fmla="*/ 137160 h 274320"/>
                <a:gd name="connsiteX3" fmla="*/ 137160 w 274320"/>
                <a:gd name="connsiteY3" fmla="*/ 274320 h 274320"/>
                <a:gd name="connsiteX4" fmla="*/ 0 w 274320"/>
                <a:gd name="connsiteY4" fmla="*/ 137160 h 274320"/>
                <a:gd name="connsiteX0" fmla="*/ 0 w 274320"/>
                <a:gd name="connsiteY0" fmla="*/ 137160 h 274320"/>
                <a:gd name="connsiteX1" fmla="*/ 274320 w 274320"/>
                <a:gd name="connsiteY1" fmla="*/ 0 h 274320"/>
                <a:gd name="connsiteX2" fmla="*/ 137160 w 274320"/>
                <a:gd name="connsiteY2" fmla="*/ 274320 h 274320"/>
                <a:gd name="connsiteX3" fmla="*/ 0 w 274320"/>
                <a:gd name="connsiteY3" fmla="*/ 137160 h 274320"/>
                <a:gd name="connsiteX0" fmla="*/ 0 w 274320"/>
                <a:gd name="connsiteY0" fmla="*/ 137160 h 288482"/>
                <a:gd name="connsiteX1" fmla="*/ 274320 w 274320"/>
                <a:gd name="connsiteY1" fmla="*/ 0 h 288482"/>
                <a:gd name="connsiteX2" fmla="*/ 137160 w 274320"/>
                <a:gd name="connsiteY2" fmla="*/ 274320 h 288482"/>
                <a:gd name="connsiteX3" fmla="*/ 0 w 274320"/>
                <a:gd name="connsiteY3" fmla="*/ 137160 h 288482"/>
                <a:gd name="connsiteX0" fmla="*/ 2200 w 276520"/>
                <a:gd name="connsiteY0" fmla="*/ 137160 h 287599"/>
                <a:gd name="connsiteX1" fmla="*/ 276520 w 276520"/>
                <a:gd name="connsiteY1" fmla="*/ 0 h 287599"/>
                <a:gd name="connsiteX2" fmla="*/ 139360 w 276520"/>
                <a:gd name="connsiteY2" fmla="*/ 274320 h 287599"/>
                <a:gd name="connsiteX3" fmla="*/ 2200 w 276520"/>
                <a:gd name="connsiteY3" fmla="*/ 137160 h 287599"/>
                <a:gd name="connsiteX0" fmla="*/ 753 w 275073"/>
                <a:gd name="connsiteY0" fmla="*/ 137160 h 275629"/>
                <a:gd name="connsiteX1" fmla="*/ 275073 w 275073"/>
                <a:gd name="connsiteY1" fmla="*/ 0 h 275629"/>
                <a:gd name="connsiteX2" fmla="*/ 137913 w 275073"/>
                <a:gd name="connsiteY2" fmla="*/ 274320 h 275629"/>
                <a:gd name="connsiteX3" fmla="*/ 753 w 275073"/>
                <a:gd name="connsiteY3" fmla="*/ 137160 h 275629"/>
                <a:gd name="connsiteX0" fmla="*/ 917 w 275237"/>
                <a:gd name="connsiteY0" fmla="*/ 137160 h 274336"/>
                <a:gd name="connsiteX1" fmla="*/ 275237 w 275237"/>
                <a:gd name="connsiteY1" fmla="*/ 0 h 274336"/>
                <a:gd name="connsiteX2" fmla="*/ 138077 w 275237"/>
                <a:gd name="connsiteY2" fmla="*/ 274320 h 274336"/>
                <a:gd name="connsiteX3" fmla="*/ 917 w 275237"/>
                <a:gd name="connsiteY3" fmla="*/ 137160 h 274336"/>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30 w 252911"/>
                <a:gd name="connsiteY0" fmla="*/ 129705 h 277503"/>
                <a:gd name="connsiteX1" fmla="*/ 252911 w 252911"/>
                <a:gd name="connsiteY1" fmla="*/ 0 h 277503"/>
                <a:gd name="connsiteX2" fmla="*/ 115751 w 252911"/>
                <a:gd name="connsiteY2" fmla="*/ 274320 h 277503"/>
                <a:gd name="connsiteX3" fmla="*/ 1530 w 252911"/>
                <a:gd name="connsiteY3" fmla="*/ 129705 h 277503"/>
                <a:gd name="connsiteX0" fmla="*/ 7668 w 259049"/>
                <a:gd name="connsiteY0" fmla="*/ 129705 h 278603"/>
                <a:gd name="connsiteX1" fmla="*/ 259049 w 259049"/>
                <a:gd name="connsiteY1" fmla="*/ 0 h 278603"/>
                <a:gd name="connsiteX2" fmla="*/ 121889 w 259049"/>
                <a:gd name="connsiteY2" fmla="*/ 274320 h 278603"/>
                <a:gd name="connsiteX3" fmla="*/ 7668 w 259049"/>
                <a:gd name="connsiteY3" fmla="*/ 129705 h 278603"/>
                <a:gd name="connsiteX0" fmla="*/ 2847 w 254228"/>
                <a:gd name="connsiteY0" fmla="*/ 129705 h 267120"/>
                <a:gd name="connsiteX1" fmla="*/ 254228 w 254228"/>
                <a:gd name="connsiteY1" fmla="*/ 0 h 267120"/>
                <a:gd name="connsiteX2" fmla="*/ 126763 w 254228"/>
                <a:gd name="connsiteY2" fmla="*/ 264385 h 267120"/>
                <a:gd name="connsiteX3" fmla="*/ 2847 w 254228"/>
                <a:gd name="connsiteY3" fmla="*/ 129705 h 267120"/>
                <a:gd name="connsiteX0" fmla="*/ 3805 w 255186"/>
                <a:gd name="connsiteY0" fmla="*/ 129705 h 270526"/>
                <a:gd name="connsiteX1" fmla="*/ 255186 w 255186"/>
                <a:gd name="connsiteY1" fmla="*/ 0 h 270526"/>
                <a:gd name="connsiteX2" fmla="*/ 127721 w 255186"/>
                <a:gd name="connsiteY2" fmla="*/ 264385 h 270526"/>
                <a:gd name="connsiteX3" fmla="*/ 3805 w 255186"/>
                <a:gd name="connsiteY3" fmla="*/ 129705 h 270526"/>
                <a:gd name="connsiteX0" fmla="*/ 4521 w 255902"/>
                <a:gd name="connsiteY0" fmla="*/ 129705 h 271073"/>
                <a:gd name="connsiteX1" fmla="*/ 255902 w 255902"/>
                <a:gd name="connsiteY1" fmla="*/ 0 h 271073"/>
                <a:gd name="connsiteX2" fmla="*/ 128437 w 255902"/>
                <a:gd name="connsiteY2" fmla="*/ 264385 h 271073"/>
                <a:gd name="connsiteX3" fmla="*/ 4521 w 255902"/>
                <a:gd name="connsiteY3" fmla="*/ 129705 h 271073"/>
              </a:gdLst>
              <a:ahLst/>
              <a:cxnLst>
                <a:cxn ang="0">
                  <a:pos x="connsiteX0" y="connsiteY0"/>
                </a:cxn>
                <a:cxn ang="0">
                  <a:pos x="connsiteX1" y="connsiteY1"/>
                </a:cxn>
                <a:cxn ang="0">
                  <a:pos x="connsiteX2" y="connsiteY2"/>
                </a:cxn>
                <a:cxn ang="0">
                  <a:pos x="connsiteX3" y="connsiteY3"/>
                </a:cxn>
              </a:cxnLst>
              <a:rect l="l" t="t" r="r" b="b"/>
              <a:pathLst>
                <a:path w="255902" h="271073">
                  <a:moveTo>
                    <a:pt x="4521" y="129705"/>
                  </a:moveTo>
                  <a:cubicBezTo>
                    <a:pt x="28247" y="72396"/>
                    <a:pt x="210182" y="0"/>
                    <a:pt x="255902" y="0"/>
                  </a:cubicBezTo>
                  <a:cubicBezTo>
                    <a:pt x="242848" y="87577"/>
                    <a:pt x="202261" y="229163"/>
                    <a:pt x="128437" y="264385"/>
                  </a:cubicBezTo>
                  <a:cubicBezTo>
                    <a:pt x="54613" y="299607"/>
                    <a:pt x="-19205" y="187014"/>
                    <a:pt x="4521" y="129705"/>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dirty="0"/>
            </a:p>
          </p:txBody>
        </p:sp>
        <p:sp>
          <p:nvSpPr>
            <p:cNvPr id="75" name="Teardrop 9"/>
            <p:cNvSpPr>
              <a:spLocks noChangeAspect="1"/>
            </p:cNvSpPr>
            <p:nvPr/>
          </p:nvSpPr>
          <p:spPr>
            <a:xfrm rot="19062968">
              <a:off x="3495588" y="-395679"/>
              <a:ext cx="1122187" cy="1188720"/>
            </a:xfrm>
            <a:custGeom>
              <a:avLst/>
              <a:gdLst>
                <a:gd name="connsiteX0" fmla="*/ 0 w 274320"/>
                <a:gd name="connsiteY0" fmla="*/ 137160 h 274320"/>
                <a:gd name="connsiteX1" fmla="*/ 137160 w 274320"/>
                <a:gd name="connsiteY1" fmla="*/ 0 h 274320"/>
                <a:gd name="connsiteX2" fmla="*/ 274320 w 274320"/>
                <a:gd name="connsiteY2" fmla="*/ 0 h 274320"/>
                <a:gd name="connsiteX3" fmla="*/ 274320 w 274320"/>
                <a:gd name="connsiteY3" fmla="*/ 137160 h 274320"/>
                <a:gd name="connsiteX4" fmla="*/ 137160 w 274320"/>
                <a:gd name="connsiteY4" fmla="*/ 274320 h 274320"/>
                <a:gd name="connsiteX5" fmla="*/ 0 w 274320"/>
                <a:gd name="connsiteY5" fmla="*/ 137160 h 274320"/>
                <a:gd name="connsiteX0" fmla="*/ 0 w 274320"/>
                <a:gd name="connsiteY0" fmla="*/ 137160 h 274320"/>
                <a:gd name="connsiteX1" fmla="*/ 274320 w 274320"/>
                <a:gd name="connsiteY1" fmla="*/ 0 h 274320"/>
                <a:gd name="connsiteX2" fmla="*/ 274320 w 274320"/>
                <a:gd name="connsiteY2" fmla="*/ 137160 h 274320"/>
                <a:gd name="connsiteX3" fmla="*/ 137160 w 274320"/>
                <a:gd name="connsiteY3" fmla="*/ 274320 h 274320"/>
                <a:gd name="connsiteX4" fmla="*/ 0 w 274320"/>
                <a:gd name="connsiteY4" fmla="*/ 137160 h 274320"/>
                <a:gd name="connsiteX0" fmla="*/ 0 w 274320"/>
                <a:gd name="connsiteY0" fmla="*/ 137160 h 274320"/>
                <a:gd name="connsiteX1" fmla="*/ 274320 w 274320"/>
                <a:gd name="connsiteY1" fmla="*/ 0 h 274320"/>
                <a:gd name="connsiteX2" fmla="*/ 137160 w 274320"/>
                <a:gd name="connsiteY2" fmla="*/ 274320 h 274320"/>
                <a:gd name="connsiteX3" fmla="*/ 0 w 274320"/>
                <a:gd name="connsiteY3" fmla="*/ 137160 h 274320"/>
                <a:gd name="connsiteX0" fmla="*/ 0 w 274320"/>
                <a:gd name="connsiteY0" fmla="*/ 137160 h 288482"/>
                <a:gd name="connsiteX1" fmla="*/ 274320 w 274320"/>
                <a:gd name="connsiteY1" fmla="*/ 0 h 288482"/>
                <a:gd name="connsiteX2" fmla="*/ 137160 w 274320"/>
                <a:gd name="connsiteY2" fmla="*/ 274320 h 288482"/>
                <a:gd name="connsiteX3" fmla="*/ 0 w 274320"/>
                <a:gd name="connsiteY3" fmla="*/ 137160 h 288482"/>
                <a:gd name="connsiteX0" fmla="*/ 2200 w 276520"/>
                <a:gd name="connsiteY0" fmla="*/ 137160 h 287599"/>
                <a:gd name="connsiteX1" fmla="*/ 276520 w 276520"/>
                <a:gd name="connsiteY1" fmla="*/ 0 h 287599"/>
                <a:gd name="connsiteX2" fmla="*/ 139360 w 276520"/>
                <a:gd name="connsiteY2" fmla="*/ 274320 h 287599"/>
                <a:gd name="connsiteX3" fmla="*/ 2200 w 276520"/>
                <a:gd name="connsiteY3" fmla="*/ 137160 h 287599"/>
                <a:gd name="connsiteX0" fmla="*/ 753 w 275073"/>
                <a:gd name="connsiteY0" fmla="*/ 137160 h 275629"/>
                <a:gd name="connsiteX1" fmla="*/ 275073 w 275073"/>
                <a:gd name="connsiteY1" fmla="*/ 0 h 275629"/>
                <a:gd name="connsiteX2" fmla="*/ 137913 w 275073"/>
                <a:gd name="connsiteY2" fmla="*/ 274320 h 275629"/>
                <a:gd name="connsiteX3" fmla="*/ 753 w 275073"/>
                <a:gd name="connsiteY3" fmla="*/ 137160 h 275629"/>
                <a:gd name="connsiteX0" fmla="*/ 917 w 275237"/>
                <a:gd name="connsiteY0" fmla="*/ 137160 h 274336"/>
                <a:gd name="connsiteX1" fmla="*/ 275237 w 275237"/>
                <a:gd name="connsiteY1" fmla="*/ 0 h 274336"/>
                <a:gd name="connsiteX2" fmla="*/ 138077 w 275237"/>
                <a:gd name="connsiteY2" fmla="*/ 274320 h 274336"/>
                <a:gd name="connsiteX3" fmla="*/ 917 w 275237"/>
                <a:gd name="connsiteY3" fmla="*/ 137160 h 274336"/>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30 w 252911"/>
                <a:gd name="connsiteY0" fmla="*/ 129705 h 277503"/>
                <a:gd name="connsiteX1" fmla="*/ 252911 w 252911"/>
                <a:gd name="connsiteY1" fmla="*/ 0 h 277503"/>
                <a:gd name="connsiteX2" fmla="*/ 115751 w 252911"/>
                <a:gd name="connsiteY2" fmla="*/ 274320 h 277503"/>
                <a:gd name="connsiteX3" fmla="*/ 1530 w 252911"/>
                <a:gd name="connsiteY3" fmla="*/ 129705 h 277503"/>
                <a:gd name="connsiteX0" fmla="*/ 7668 w 259049"/>
                <a:gd name="connsiteY0" fmla="*/ 129705 h 278603"/>
                <a:gd name="connsiteX1" fmla="*/ 259049 w 259049"/>
                <a:gd name="connsiteY1" fmla="*/ 0 h 278603"/>
                <a:gd name="connsiteX2" fmla="*/ 121889 w 259049"/>
                <a:gd name="connsiteY2" fmla="*/ 274320 h 278603"/>
                <a:gd name="connsiteX3" fmla="*/ 7668 w 259049"/>
                <a:gd name="connsiteY3" fmla="*/ 129705 h 278603"/>
                <a:gd name="connsiteX0" fmla="*/ 2847 w 254228"/>
                <a:gd name="connsiteY0" fmla="*/ 129705 h 267120"/>
                <a:gd name="connsiteX1" fmla="*/ 254228 w 254228"/>
                <a:gd name="connsiteY1" fmla="*/ 0 h 267120"/>
                <a:gd name="connsiteX2" fmla="*/ 126763 w 254228"/>
                <a:gd name="connsiteY2" fmla="*/ 264385 h 267120"/>
                <a:gd name="connsiteX3" fmla="*/ 2847 w 254228"/>
                <a:gd name="connsiteY3" fmla="*/ 129705 h 267120"/>
                <a:gd name="connsiteX0" fmla="*/ 3805 w 255186"/>
                <a:gd name="connsiteY0" fmla="*/ 129705 h 270526"/>
                <a:gd name="connsiteX1" fmla="*/ 255186 w 255186"/>
                <a:gd name="connsiteY1" fmla="*/ 0 h 270526"/>
                <a:gd name="connsiteX2" fmla="*/ 127721 w 255186"/>
                <a:gd name="connsiteY2" fmla="*/ 264385 h 270526"/>
                <a:gd name="connsiteX3" fmla="*/ 3805 w 255186"/>
                <a:gd name="connsiteY3" fmla="*/ 129705 h 270526"/>
                <a:gd name="connsiteX0" fmla="*/ 4521 w 255902"/>
                <a:gd name="connsiteY0" fmla="*/ 129705 h 271073"/>
                <a:gd name="connsiteX1" fmla="*/ 255902 w 255902"/>
                <a:gd name="connsiteY1" fmla="*/ 0 h 271073"/>
                <a:gd name="connsiteX2" fmla="*/ 128437 w 255902"/>
                <a:gd name="connsiteY2" fmla="*/ 264385 h 271073"/>
                <a:gd name="connsiteX3" fmla="*/ 4521 w 255902"/>
                <a:gd name="connsiteY3" fmla="*/ 129705 h 271073"/>
              </a:gdLst>
              <a:ahLst/>
              <a:cxnLst>
                <a:cxn ang="0">
                  <a:pos x="connsiteX0" y="connsiteY0"/>
                </a:cxn>
                <a:cxn ang="0">
                  <a:pos x="connsiteX1" y="connsiteY1"/>
                </a:cxn>
                <a:cxn ang="0">
                  <a:pos x="connsiteX2" y="connsiteY2"/>
                </a:cxn>
                <a:cxn ang="0">
                  <a:pos x="connsiteX3" y="connsiteY3"/>
                </a:cxn>
              </a:cxnLst>
              <a:rect l="l" t="t" r="r" b="b"/>
              <a:pathLst>
                <a:path w="255902" h="271073">
                  <a:moveTo>
                    <a:pt x="4521" y="129705"/>
                  </a:moveTo>
                  <a:cubicBezTo>
                    <a:pt x="28247" y="72396"/>
                    <a:pt x="210182" y="0"/>
                    <a:pt x="255902" y="0"/>
                  </a:cubicBezTo>
                  <a:cubicBezTo>
                    <a:pt x="242848" y="87577"/>
                    <a:pt x="202261" y="229163"/>
                    <a:pt x="128437" y="264385"/>
                  </a:cubicBezTo>
                  <a:cubicBezTo>
                    <a:pt x="54613" y="299607"/>
                    <a:pt x="-19205" y="187014"/>
                    <a:pt x="4521" y="129705"/>
                  </a:cubicBez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dirty="0"/>
            </a:p>
          </p:txBody>
        </p:sp>
        <p:sp>
          <p:nvSpPr>
            <p:cNvPr id="77" name="Freeform 76"/>
            <p:cNvSpPr/>
            <p:nvPr/>
          </p:nvSpPr>
          <p:spPr>
            <a:xfrm>
              <a:off x="3830990" y="-194517"/>
              <a:ext cx="527980" cy="1329515"/>
            </a:xfrm>
            <a:custGeom>
              <a:avLst/>
              <a:gdLst>
                <a:gd name="connsiteX0" fmla="*/ 246773 w 527980"/>
                <a:gd name="connsiteY0" fmla="*/ 0 h 1329515"/>
                <a:gd name="connsiteX1" fmla="*/ 231470 w 527980"/>
                <a:gd name="connsiteY1" fmla="*/ 420853 h 1329515"/>
                <a:gd name="connsiteX2" fmla="*/ 114778 w 527980"/>
                <a:gd name="connsiteY2" fmla="*/ 344335 h 1329515"/>
                <a:gd name="connsiteX3" fmla="*/ 233383 w 527980"/>
                <a:gd name="connsiteY3" fmla="*/ 497372 h 1329515"/>
                <a:gd name="connsiteX4" fmla="*/ 227644 w 527980"/>
                <a:gd name="connsiteY4" fmla="*/ 615976 h 1329515"/>
                <a:gd name="connsiteX5" fmla="*/ 53563 w 527980"/>
                <a:gd name="connsiteY5" fmla="*/ 501198 h 1329515"/>
                <a:gd name="connsiteX6" fmla="*/ 219992 w 527980"/>
                <a:gd name="connsiteY6" fmla="*/ 696321 h 1329515"/>
                <a:gd name="connsiteX7" fmla="*/ 206601 w 527980"/>
                <a:gd name="connsiteY7" fmla="*/ 885705 h 1329515"/>
                <a:gd name="connsiteX8" fmla="*/ 0 w 527980"/>
                <a:gd name="connsiteY8" fmla="*/ 719277 h 1329515"/>
                <a:gd name="connsiteX9" fmla="*/ 212340 w 527980"/>
                <a:gd name="connsiteY9" fmla="*/ 950746 h 1329515"/>
                <a:gd name="connsiteX10" fmla="*/ 177907 w 527980"/>
                <a:gd name="connsiteY10" fmla="*/ 1329515 h 1329515"/>
                <a:gd name="connsiteX11" fmla="*/ 340509 w 527980"/>
                <a:gd name="connsiteY11" fmla="*/ 1323776 h 1329515"/>
                <a:gd name="connsiteX12" fmla="*/ 294598 w 527980"/>
                <a:gd name="connsiteY12" fmla="*/ 893357 h 1329515"/>
                <a:gd name="connsiteX13" fmla="*/ 527980 w 527980"/>
                <a:gd name="connsiteY13" fmla="*/ 637019 h 1329515"/>
                <a:gd name="connsiteX14" fmla="*/ 307989 w 527980"/>
                <a:gd name="connsiteY14" fmla="*/ 807274 h 1329515"/>
                <a:gd name="connsiteX15" fmla="*/ 296511 w 527980"/>
                <a:gd name="connsiteY15" fmla="*/ 633193 h 1329515"/>
                <a:gd name="connsiteX16" fmla="*/ 472504 w 527980"/>
                <a:gd name="connsiteY16" fmla="*/ 426592 h 1329515"/>
                <a:gd name="connsiteX17" fmla="*/ 294598 w 527980"/>
                <a:gd name="connsiteY17" fmla="*/ 541371 h 1329515"/>
                <a:gd name="connsiteX18" fmla="*/ 288859 w 527980"/>
                <a:gd name="connsiteY18" fmla="*/ 373029 h 1329515"/>
                <a:gd name="connsiteX19" fmla="*/ 371117 w 527980"/>
                <a:gd name="connsiteY19" fmla="*/ 256338 h 1329515"/>
                <a:gd name="connsiteX20" fmla="*/ 281207 w 527980"/>
                <a:gd name="connsiteY20" fmla="*/ 300336 h 1329515"/>
                <a:gd name="connsiteX21" fmla="*/ 246773 w 527980"/>
                <a:gd name="connsiteY21" fmla="*/ 0 h 13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7980" h="1329515">
                  <a:moveTo>
                    <a:pt x="246773" y="0"/>
                  </a:moveTo>
                  <a:lnTo>
                    <a:pt x="231470" y="420853"/>
                  </a:lnTo>
                  <a:lnTo>
                    <a:pt x="114778" y="344335"/>
                  </a:lnTo>
                  <a:lnTo>
                    <a:pt x="233383" y="497372"/>
                  </a:lnTo>
                  <a:lnTo>
                    <a:pt x="227644" y="615976"/>
                  </a:lnTo>
                  <a:lnTo>
                    <a:pt x="53563" y="501198"/>
                  </a:lnTo>
                  <a:lnTo>
                    <a:pt x="219992" y="696321"/>
                  </a:lnTo>
                  <a:lnTo>
                    <a:pt x="206601" y="885705"/>
                  </a:lnTo>
                  <a:lnTo>
                    <a:pt x="0" y="719277"/>
                  </a:lnTo>
                  <a:lnTo>
                    <a:pt x="212340" y="950746"/>
                  </a:lnTo>
                  <a:lnTo>
                    <a:pt x="177907" y="1329515"/>
                  </a:lnTo>
                  <a:lnTo>
                    <a:pt x="340509" y="1323776"/>
                  </a:lnTo>
                  <a:lnTo>
                    <a:pt x="294598" y="893357"/>
                  </a:lnTo>
                  <a:lnTo>
                    <a:pt x="527980" y="637019"/>
                  </a:lnTo>
                  <a:lnTo>
                    <a:pt x="307989" y="807274"/>
                  </a:lnTo>
                  <a:lnTo>
                    <a:pt x="296511" y="633193"/>
                  </a:lnTo>
                  <a:lnTo>
                    <a:pt x="472504" y="426592"/>
                  </a:lnTo>
                  <a:lnTo>
                    <a:pt x="294598" y="541371"/>
                  </a:lnTo>
                  <a:lnTo>
                    <a:pt x="288859" y="373029"/>
                  </a:lnTo>
                  <a:lnTo>
                    <a:pt x="371117" y="256338"/>
                  </a:lnTo>
                  <a:lnTo>
                    <a:pt x="281207" y="300336"/>
                  </a:lnTo>
                  <a:lnTo>
                    <a:pt x="246773" y="0"/>
                  </a:lnTo>
                  <a:close/>
                </a:path>
              </a:pathLst>
            </a:custGeom>
            <a:solidFill>
              <a:srgbClr val="007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a:p>
          </p:txBody>
        </p:sp>
        <p:sp>
          <p:nvSpPr>
            <p:cNvPr id="78" name="Freeform 77"/>
            <p:cNvSpPr/>
            <p:nvPr/>
          </p:nvSpPr>
          <p:spPr>
            <a:xfrm>
              <a:off x="3120055" y="-189384"/>
              <a:ext cx="527980" cy="1329515"/>
            </a:xfrm>
            <a:custGeom>
              <a:avLst/>
              <a:gdLst>
                <a:gd name="connsiteX0" fmla="*/ 246773 w 527980"/>
                <a:gd name="connsiteY0" fmla="*/ 0 h 1329515"/>
                <a:gd name="connsiteX1" fmla="*/ 231470 w 527980"/>
                <a:gd name="connsiteY1" fmla="*/ 420853 h 1329515"/>
                <a:gd name="connsiteX2" fmla="*/ 114778 w 527980"/>
                <a:gd name="connsiteY2" fmla="*/ 344335 h 1329515"/>
                <a:gd name="connsiteX3" fmla="*/ 233383 w 527980"/>
                <a:gd name="connsiteY3" fmla="*/ 497372 h 1329515"/>
                <a:gd name="connsiteX4" fmla="*/ 227644 w 527980"/>
                <a:gd name="connsiteY4" fmla="*/ 615976 h 1329515"/>
                <a:gd name="connsiteX5" fmla="*/ 53563 w 527980"/>
                <a:gd name="connsiteY5" fmla="*/ 501198 h 1329515"/>
                <a:gd name="connsiteX6" fmla="*/ 219992 w 527980"/>
                <a:gd name="connsiteY6" fmla="*/ 696321 h 1329515"/>
                <a:gd name="connsiteX7" fmla="*/ 206601 w 527980"/>
                <a:gd name="connsiteY7" fmla="*/ 885705 h 1329515"/>
                <a:gd name="connsiteX8" fmla="*/ 0 w 527980"/>
                <a:gd name="connsiteY8" fmla="*/ 719277 h 1329515"/>
                <a:gd name="connsiteX9" fmla="*/ 212340 w 527980"/>
                <a:gd name="connsiteY9" fmla="*/ 950746 h 1329515"/>
                <a:gd name="connsiteX10" fmla="*/ 177907 w 527980"/>
                <a:gd name="connsiteY10" fmla="*/ 1329515 h 1329515"/>
                <a:gd name="connsiteX11" fmla="*/ 340509 w 527980"/>
                <a:gd name="connsiteY11" fmla="*/ 1323776 h 1329515"/>
                <a:gd name="connsiteX12" fmla="*/ 294598 w 527980"/>
                <a:gd name="connsiteY12" fmla="*/ 893357 h 1329515"/>
                <a:gd name="connsiteX13" fmla="*/ 527980 w 527980"/>
                <a:gd name="connsiteY13" fmla="*/ 637019 h 1329515"/>
                <a:gd name="connsiteX14" fmla="*/ 307989 w 527980"/>
                <a:gd name="connsiteY14" fmla="*/ 807274 h 1329515"/>
                <a:gd name="connsiteX15" fmla="*/ 296511 w 527980"/>
                <a:gd name="connsiteY15" fmla="*/ 633193 h 1329515"/>
                <a:gd name="connsiteX16" fmla="*/ 472504 w 527980"/>
                <a:gd name="connsiteY16" fmla="*/ 426592 h 1329515"/>
                <a:gd name="connsiteX17" fmla="*/ 294598 w 527980"/>
                <a:gd name="connsiteY17" fmla="*/ 541371 h 1329515"/>
                <a:gd name="connsiteX18" fmla="*/ 288859 w 527980"/>
                <a:gd name="connsiteY18" fmla="*/ 373029 h 1329515"/>
                <a:gd name="connsiteX19" fmla="*/ 371117 w 527980"/>
                <a:gd name="connsiteY19" fmla="*/ 256338 h 1329515"/>
                <a:gd name="connsiteX20" fmla="*/ 281207 w 527980"/>
                <a:gd name="connsiteY20" fmla="*/ 300336 h 1329515"/>
                <a:gd name="connsiteX21" fmla="*/ 246773 w 527980"/>
                <a:gd name="connsiteY21" fmla="*/ 0 h 13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7980" h="1329515">
                  <a:moveTo>
                    <a:pt x="246773" y="0"/>
                  </a:moveTo>
                  <a:lnTo>
                    <a:pt x="231470" y="420853"/>
                  </a:lnTo>
                  <a:lnTo>
                    <a:pt x="114778" y="344335"/>
                  </a:lnTo>
                  <a:lnTo>
                    <a:pt x="233383" y="497372"/>
                  </a:lnTo>
                  <a:lnTo>
                    <a:pt x="227644" y="615976"/>
                  </a:lnTo>
                  <a:lnTo>
                    <a:pt x="53563" y="501198"/>
                  </a:lnTo>
                  <a:lnTo>
                    <a:pt x="219992" y="696321"/>
                  </a:lnTo>
                  <a:lnTo>
                    <a:pt x="206601" y="885705"/>
                  </a:lnTo>
                  <a:lnTo>
                    <a:pt x="0" y="719277"/>
                  </a:lnTo>
                  <a:lnTo>
                    <a:pt x="212340" y="950746"/>
                  </a:lnTo>
                  <a:lnTo>
                    <a:pt x="177907" y="1329515"/>
                  </a:lnTo>
                  <a:lnTo>
                    <a:pt x="340509" y="1323776"/>
                  </a:lnTo>
                  <a:lnTo>
                    <a:pt x="294598" y="893357"/>
                  </a:lnTo>
                  <a:lnTo>
                    <a:pt x="527980" y="637019"/>
                  </a:lnTo>
                  <a:lnTo>
                    <a:pt x="307989" y="807274"/>
                  </a:lnTo>
                  <a:lnTo>
                    <a:pt x="296511" y="633193"/>
                  </a:lnTo>
                  <a:lnTo>
                    <a:pt x="472504" y="426592"/>
                  </a:lnTo>
                  <a:lnTo>
                    <a:pt x="294598" y="541371"/>
                  </a:lnTo>
                  <a:lnTo>
                    <a:pt x="288859" y="373029"/>
                  </a:lnTo>
                  <a:lnTo>
                    <a:pt x="371117" y="256338"/>
                  </a:lnTo>
                  <a:lnTo>
                    <a:pt x="281207" y="300336"/>
                  </a:lnTo>
                  <a:lnTo>
                    <a:pt x="246773" y="0"/>
                  </a:lnTo>
                  <a:close/>
                </a:path>
              </a:pathLst>
            </a:custGeom>
            <a:solidFill>
              <a:srgbClr val="007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a:p>
          </p:txBody>
        </p:sp>
      </p:grpSp>
      <p:grpSp>
        <p:nvGrpSpPr>
          <p:cNvPr id="79" name="Group 78"/>
          <p:cNvGrpSpPr/>
          <p:nvPr/>
        </p:nvGrpSpPr>
        <p:grpSpPr>
          <a:xfrm>
            <a:off x="9976292" y="5608873"/>
            <a:ext cx="989349" cy="912399"/>
            <a:chOff x="2952434" y="-395679"/>
            <a:chExt cx="1665341" cy="1535810"/>
          </a:xfrm>
        </p:grpSpPr>
        <p:sp>
          <p:nvSpPr>
            <p:cNvPr id="80" name="Teardrop 9"/>
            <p:cNvSpPr>
              <a:spLocks noChangeAspect="1"/>
            </p:cNvSpPr>
            <p:nvPr/>
          </p:nvSpPr>
          <p:spPr>
            <a:xfrm rot="19062968">
              <a:off x="2952434" y="-77135"/>
              <a:ext cx="863221" cy="914400"/>
            </a:xfrm>
            <a:custGeom>
              <a:avLst/>
              <a:gdLst>
                <a:gd name="connsiteX0" fmla="*/ 0 w 274320"/>
                <a:gd name="connsiteY0" fmla="*/ 137160 h 274320"/>
                <a:gd name="connsiteX1" fmla="*/ 137160 w 274320"/>
                <a:gd name="connsiteY1" fmla="*/ 0 h 274320"/>
                <a:gd name="connsiteX2" fmla="*/ 274320 w 274320"/>
                <a:gd name="connsiteY2" fmla="*/ 0 h 274320"/>
                <a:gd name="connsiteX3" fmla="*/ 274320 w 274320"/>
                <a:gd name="connsiteY3" fmla="*/ 137160 h 274320"/>
                <a:gd name="connsiteX4" fmla="*/ 137160 w 274320"/>
                <a:gd name="connsiteY4" fmla="*/ 274320 h 274320"/>
                <a:gd name="connsiteX5" fmla="*/ 0 w 274320"/>
                <a:gd name="connsiteY5" fmla="*/ 137160 h 274320"/>
                <a:gd name="connsiteX0" fmla="*/ 0 w 274320"/>
                <a:gd name="connsiteY0" fmla="*/ 137160 h 274320"/>
                <a:gd name="connsiteX1" fmla="*/ 274320 w 274320"/>
                <a:gd name="connsiteY1" fmla="*/ 0 h 274320"/>
                <a:gd name="connsiteX2" fmla="*/ 274320 w 274320"/>
                <a:gd name="connsiteY2" fmla="*/ 137160 h 274320"/>
                <a:gd name="connsiteX3" fmla="*/ 137160 w 274320"/>
                <a:gd name="connsiteY3" fmla="*/ 274320 h 274320"/>
                <a:gd name="connsiteX4" fmla="*/ 0 w 274320"/>
                <a:gd name="connsiteY4" fmla="*/ 137160 h 274320"/>
                <a:gd name="connsiteX0" fmla="*/ 0 w 274320"/>
                <a:gd name="connsiteY0" fmla="*/ 137160 h 274320"/>
                <a:gd name="connsiteX1" fmla="*/ 274320 w 274320"/>
                <a:gd name="connsiteY1" fmla="*/ 0 h 274320"/>
                <a:gd name="connsiteX2" fmla="*/ 137160 w 274320"/>
                <a:gd name="connsiteY2" fmla="*/ 274320 h 274320"/>
                <a:gd name="connsiteX3" fmla="*/ 0 w 274320"/>
                <a:gd name="connsiteY3" fmla="*/ 137160 h 274320"/>
                <a:gd name="connsiteX0" fmla="*/ 0 w 274320"/>
                <a:gd name="connsiteY0" fmla="*/ 137160 h 288482"/>
                <a:gd name="connsiteX1" fmla="*/ 274320 w 274320"/>
                <a:gd name="connsiteY1" fmla="*/ 0 h 288482"/>
                <a:gd name="connsiteX2" fmla="*/ 137160 w 274320"/>
                <a:gd name="connsiteY2" fmla="*/ 274320 h 288482"/>
                <a:gd name="connsiteX3" fmla="*/ 0 w 274320"/>
                <a:gd name="connsiteY3" fmla="*/ 137160 h 288482"/>
                <a:gd name="connsiteX0" fmla="*/ 2200 w 276520"/>
                <a:gd name="connsiteY0" fmla="*/ 137160 h 287599"/>
                <a:gd name="connsiteX1" fmla="*/ 276520 w 276520"/>
                <a:gd name="connsiteY1" fmla="*/ 0 h 287599"/>
                <a:gd name="connsiteX2" fmla="*/ 139360 w 276520"/>
                <a:gd name="connsiteY2" fmla="*/ 274320 h 287599"/>
                <a:gd name="connsiteX3" fmla="*/ 2200 w 276520"/>
                <a:gd name="connsiteY3" fmla="*/ 137160 h 287599"/>
                <a:gd name="connsiteX0" fmla="*/ 753 w 275073"/>
                <a:gd name="connsiteY0" fmla="*/ 137160 h 275629"/>
                <a:gd name="connsiteX1" fmla="*/ 275073 w 275073"/>
                <a:gd name="connsiteY1" fmla="*/ 0 h 275629"/>
                <a:gd name="connsiteX2" fmla="*/ 137913 w 275073"/>
                <a:gd name="connsiteY2" fmla="*/ 274320 h 275629"/>
                <a:gd name="connsiteX3" fmla="*/ 753 w 275073"/>
                <a:gd name="connsiteY3" fmla="*/ 137160 h 275629"/>
                <a:gd name="connsiteX0" fmla="*/ 917 w 275237"/>
                <a:gd name="connsiteY0" fmla="*/ 137160 h 274336"/>
                <a:gd name="connsiteX1" fmla="*/ 275237 w 275237"/>
                <a:gd name="connsiteY1" fmla="*/ 0 h 274336"/>
                <a:gd name="connsiteX2" fmla="*/ 138077 w 275237"/>
                <a:gd name="connsiteY2" fmla="*/ 274320 h 274336"/>
                <a:gd name="connsiteX3" fmla="*/ 917 w 275237"/>
                <a:gd name="connsiteY3" fmla="*/ 137160 h 274336"/>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30 w 252911"/>
                <a:gd name="connsiteY0" fmla="*/ 129705 h 277503"/>
                <a:gd name="connsiteX1" fmla="*/ 252911 w 252911"/>
                <a:gd name="connsiteY1" fmla="*/ 0 h 277503"/>
                <a:gd name="connsiteX2" fmla="*/ 115751 w 252911"/>
                <a:gd name="connsiteY2" fmla="*/ 274320 h 277503"/>
                <a:gd name="connsiteX3" fmla="*/ 1530 w 252911"/>
                <a:gd name="connsiteY3" fmla="*/ 129705 h 277503"/>
                <a:gd name="connsiteX0" fmla="*/ 7668 w 259049"/>
                <a:gd name="connsiteY0" fmla="*/ 129705 h 278603"/>
                <a:gd name="connsiteX1" fmla="*/ 259049 w 259049"/>
                <a:gd name="connsiteY1" fmla="*/ 0 h 278603"/>
                <a:gd name="connsiteX2" fmla="*/ 121889 w 259049"/>
                <a:gd name="connsiteY2" fmla="*/ 274320 h 278603"/>
                <a:gd name="connsiteX3" fmla="*/ 7668 w 259049"/>
                <a:gd name="connsiteY3" fmla="*/ 129705 h 278603"/>
                <a:gd name="connsiteX0" fmla="*/ 2847 w 254228"/>
                <a:gd name="connsiteY0" fmla="*/ 129705 h 267120"/>
                <a:gd name="connsiteX1" fmla="*/ 254228 w 254228"/>
                <a:gd name="connsiteY1" fmla="*/ 0 h 267120"/>
                <a:gd name="connsiteX2" fmla="*/ 126763 w 254228"/>
                <a:gd name="connsiteY2" fmla="*/ 264385 h 267120"/>
                <a:gd name="connsiteX3" fmla="*/ 2847 w 254228"/>
                <a:gd name="connsiteY3" fmla="*/ 129705 h 267120"/>
                <a:gd name="connsiteX0" fmla="*/ 3805 w 255186"/>
                <a:gd name="connsiteY0" fmla="*/ 129705 h 270526"/>
                <a:gd name="connsiteX1" fmla="*/ 255186 w 255186"/>
                <a:gd name="connsiteY1" fmla="*/ 0 h 270526"/>
                <a:gd name="connsiteX2" fmla="*/ 127721 w 255186"/>
                <a:gd name="connsiteY2" fmla="*/ 264385 h 270526"/>
                <a:gd name="connsiteX3" fmla="*/ 3805 w 255186"/>
                <a:gd name="connsiteY3" fmla="*/ 129705 h 270526"/>
                <a:gd name="connsiteX0" fmla="*/ 4521 w 255902"/>
                <a:gd name="connsiteY0" fmla="*/ 129705 h 271073"/>
                <a:gd name="connsiteX1" fmla="*/ 255902 w 255902"/>
                <a:gd name="connsiteY1" fmla="*/ 0 h 271073"/>
                <a:gd name="connsiteX2" fmla="*/ 128437 w 255902"/>
                <a:gd name="connsiteY2" fmla="*/ 264385 h 271073"/>
                <a:gd name="connsiteX3" fmla="*/ 4521 w 255902"/>
                <a:gd name="connsiteY3" fmla="*/ 129705 h 271073"/>
              </a:gdLst>
              <a:ahLst/>
              <a:cxnLst>
                <a:cxn ang="0">
                  <a:pos x="connsiteX0" y="connsiteY0"/>
                </a:cxn>
                <a:cxn ang="0">
                  <a:pos x="connsiteX1" y="connsiteY1"/>
                </a:cxn>
                <a:cxn ang="0">
                  <a:pos x="connsiteX2" y="connsiteY2"/>
                </a:cxn>
                <a:cxn ang="0">
                  <a:pos x="connsiteX3" y="connsiteY3"/>
                </a:cxn>
              </a:cxnLst>
              <a:rect l="l" t="t" r="r" b="b"/>
              <a:pathLst>
                <a:path w="255902" h="271073">
                  <a:moveTo>
                    <a:pt x="4521" y="129705"/>
                  </a:moveTo>
                  <a:cubicBezTo>
                    <a:pt x="28247" y="72396"/>
                    <a:pt x="210182" y="0"/>
                    <a:pt x="255902" y="0"/>
                  </a:cubicBezTo>
                  <a:cubicBezTo>
                    <a:pt x="242848" y="87577"/>
                    <a:pt x="202261" y="229163"/>
                    <a:pt x="128437" y="264385"/>
                  </a:cubicBezTo>
                  <a:cubicBezTo>
                    <a:pt x="54613" y="299607"/>
                    <a:pt x="-19205" y="187014"/>
                    <a:pt x="4521" y="129705"/>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dirty="0"/>
            </a:p>
          </p:txBody>
        </p:sp>
        <p:sp>
          <p:nvSpPr>
            <p:cNvPr id="81" name="Teardrop 9"/>
            <p:cNvSpPr>
              <a:spLocks noChangeAspect="1"/>
            </p:cNvSpPr>
            <p:nvPr/>
          </p:nvSpPr>
          <p:spPr>
            <a:xfrm rot="19062968">
              <a:off x="3495588" y="-395679"/>
              <a:ext cx="1122187" cy="1188720"/>
            </a:xfrm>
            <a:custGeom>
              <a:avLst/>
              <a:gdLst>
                <a:gd name="connsiteX0" fmla="*/ 0 w 274320"/>
                <a:gd name="connsiteY0" fmla="*/ 137160 h 274320"/>
                <a:gd name="connsiteX1" fmla="*/ 137160 w 274320"/>
                <a:gd name="connsiteY1" fmla="*/ 0 h 274320"/>
                <a:gd name="connsiteX2" fmla="*/ 274320 w 274320"/>
                <a:gd name="connsiteY2" fmla="*/ 0 h 274320"/>
                <a:gd name="connsiteX3" fmla="*/ 274320 w 274320"/>
                <a:gd name="connsiteY3" fmla="*/ 137160 h 274320"/>
                <a:gd name="connsiteX4" fmla="*/ 137160 w 274320"/>
                <a:gd name="connsiteY4" fmla="*/ 274320 h 274320"/>
                <a:gd name="connsiteX5" fmla="*/ 0 w 274320"/>
                <a:gd name="connsiteY5" fmla="*/ 137160 h 274320"/>
                <a:gd name="connsiteX0" fmla="*/ 0 w 274320"/>
                <a:gd name="connsiteY0" fmla="*/ 137160 h 274320"/>
                <a:gd name="connsiteX1" fmla="*/ 274320 w 274320"/>
                <a:gd name="connsiteY1" fmla="*/ 0 h 274320"/>
                <a:gd name="connsiteX2" fmla="*/ 274320 w 274320"/>
                <a:gd name="connsiteY2" fmla="*/ 137160 h 274320"/>
                <a:gd name="connsiteX3" fmla="*/ 137160 w 274320"/>
                <a:gd name="connsiteY3" fmla="*/ 274320 h 274320"/>
                <a:gd name="connsiteX4" fmla="*/ 0 w 274320"/>
                <a:gd name="connsiteY4" fmla="*/ 137160 h 274320"/>
                <a:gd name="connsiteX0" fmla="*/ 0 w 274320"/>
                <a:gd name="connsiteY0" fmla="*/ 137160 h 274320"/>
                <a:gd name="connsiteX1" fmla="*/ 274320 w 274320"/>
                <a:gd name="connsiteY1" fmla="*/ 0 h 274320"/>
                <a:gd name="connsiteX2" fmla="*/ 137160 w 274320"/>
                <a:gd name="connsiteY2" fmla="*/ 274320 h 274320"/>
                <a:gd name="connsiteX3" fmla="*/ 0 w 274320"/>
                <a:gd name="connsiteY3" fmla="*/ 137160 h 274320"/>
                <a:gd name="connsiteX0" fmla="*/ 0 w 274320"/>
                <a:gd name="connsiteY0" fmla="*/ 137160 h 288482"/>
                <a:gd name="connsiteX1" fmla="*/ 274320 w 274320"/>
                <a:gd name="connsiteY1" fmla="*/ 0 h 288482"/>
                <a:gd name="connsiteX2" fmla="*/ 137160 w 274320"/>
                <a:gd name="connsiteY2" fmla="*/ 274320 h 288482"/>
                <a:gd name="connsiteX3" fmla="*/ 0 w 274320"/>
                <a:gd name="connsiteY3" fmla="*/ 137160 h 288482"/>
                <a:gd name="connsiteX0" fmla="*/ 2200 w 276520"/>
                <a:gd name="connsiteY0" fmla="*/ 137160 h 287599"/>
                <a:gd name="connsiteX1" fmla="*/ 276520 w 276520"/>
                <a:gd name="connsiteY1" fmla="*/ 0 h 287599"/>
                <a:gd name="connsiteX2" fmla="*/ 139360 w 276520"/>
                <a:gd name="connsiteY2" fmla="*/ 274320 h 287599"/>
                <a:gd name="connsiteX3" fmla="*/ 2200 w 276520"/>
                <a:gd name="connsiteY3" fmla="*/ 137160 h 287599"/>
                <a:gd name="connsiteX0" fmla="*/ 753 w 275073"/>
                <a:gd name="connsiteY0" fmla="*/ 137160 h 275629"/>
                <a:gd name="connsiteX1" fmla="*/ 275073 w 275073"/>
                <a:gd name="connsiteY1" fmla="*/ 0 h 275629"/>
                <a:gd name="connsiteX2" fmla="*/ 137913 w 275073"/>
                <a:gd name="connsiteY2" fmla="*/ 274320 h 275629"/>
                <a:gd name="connsiteX3" fmla="*/ 753 w 275073"/>
                <a:gd name="connsiteY3" fmla="*/ 137160 h 275629"/>
                <a:gd name="connsiteX0" fmla="*/ 917 w 275237"/>
                <a:gd name="connsiteY0" fmla="*/ 137160 h 274336"/>
                <a:gd name="connsiteX1" fmla="*/ 275237 w 275237"/>
                <a:gd name="connsiteY1" fmla="*/ 0 h 274336"/>
                <a:gd name="connsiteX2" fmla="*/ 138077 w 275237"/>
                <a:gd name="connsiteY2" fmla="*/ 274320 h 274336"/>
                <a:gd name="connsiteX3" fmla="*/ 917 w 275237"/>
                <a:gd name="connsiteY3" fmla="*/ 137160 h 274336"/>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80 w 275900"/>
                <a:gd name="connsiteY0" fmla="*/ 137160 h 274338"/>
                <a:gd name="connsiteX1" fmla="*/ 275900 w 275900"/>
                <a:gd name="connsiteY1" fmla="*/ 0 h 274338"/>
                <a:gd name="connsiteX2" fmla="*/ 138740 w 275900"/>
                <a:gd name="connsiteY2" fmla="*/ 274320 h 274338"/>
                <a:gd name="connsiteX3" fmla="*/ 1580 w 275900"/>
                <a:gd name="connsiteY3" fmla="*/ 137160 h 274338"/>
                <a:gd name="connsiteX0" fmla="*/ 1530 w 252911"/>
                <a:gd name="connsiteY0" fmla="*/ 129705 h 277503"/>
                <a:gd name="connsiteX1" fmla="*/ 252911 w 252911"/>
                <a:gd name="connsiteY1" fmla="*/ 0 h 277503"/>
                <a:gd name="connsiteX2" fmla="*/ 115751 w 252911"/>
                <a:gd name="connsiteY2" fmla="*/ 274320 h 277503"/>
                <a:gd name="connsiteX3" fmla="*/ 1530 w 252911"/>
                <a:gd name="connsiteY3" fmla="*/ 129705 h 277503"/>
                <a:gd name="connsiteX0" fmla="*/ 7668 w 259049"/>
                <a:gd name="connsiteY0" fmla="*/ 129705 h 278603"/>
                <a:gd name="connsiteX1" fmla="*/ 259049 w 259049"/>
                <a:gd name="connsiteY1" fmla="*/ 0 h 278603"/>
                <a:gd name="connsiteX2" fmla="*/ 121889 w 259049"/>
                <a:gd name="connsiteY2" fmla="*/ 274320 h 278603"/>
                <a:gd name="connsiteX3" fmla="*/ 7668 w 259049"/>
                <a:gd name="connsiteY3" fmla="*/ 129705 h 278603"/>
                <a:gd name="connsiteX0" fmla="*/ 2847 w 254228"/>
                <a:gd name="connsiteY0" fmla="*/ 129705 h 267120"/>
                <a:gd name="connsiteX1" fmla="*/ 254228 w 254228"/>
                <a:gd name="connsiteY1" fmla="*/ 0 h 267120"/>
                <a:gd name="connsiteX2" fmla="*/ 126763 w 254228"/>
                <a:gd name="connsiteY2" fmla="*/ 264385 h 267120"/>
                <a:gd name="connsiteX3" fmla="*/ 2847 w 254228"/>
                <a:gd name="connsiteY3" fmla="*/ 129705 h 267120"/>
                <a:gd name="connsiteX0" fmla="*/ 3805 w 255186"/>
                <a:gd name="connsiteY0" fmla="*/ 129705 h 270526"/>
                <a:gd name="connsiteX1" fmla="*/ 255186 w 255186"/>
                <a:gd name="connsiteY1" fmla="*/ 0 h 270526"/>
                <a:gd name="connsiteX2" fmla="*/ 127721 w 255186"/>
                <a:gd name="connsiteY2" fmla="*/ 264385 h 270526"/>
                <a:gd name="connsiteX3" fmla="*/ 3805 w 255186"/>
                <a:gd name="connsiteY3" fmla="*/ 129705 h 270526"/>
                <a:gd name="connsiteX0" fmla="*/ 4521 w 255902"/>
                <a:gd name="connsiteY0" fmla="*/ 129705 h 271073"/>
                <a:gd name="connsiteX1" fmla="*/ 255902 w 255902"/>
                <a:gd name="connsiteY1" fmla="*/ 0 h 271073"/>
                <a:gd name="connsiteX2" fmla="*/ 128437 w 255902"/>
                <a:gd name="connsiteY2" fmla="*/ 264385 h 271073"/>
                <a:gd name="connsiteX3" fmla="*/ 4521 w 255902"/>
                <a:gd name="connsiteY3" fmla="*/ 129705 h 271073"/>
              </a:gdLst>
              <a:ahLst/>
              <a:cxnLst>
                <a:cxn ang="0">
                  <a:pos x="connsiteX0" y="connsiteY0"/>
                </a:cxn>
                <a:cxn ang="0">
                  <a:pos x="connsiteX1" y="connsiteY1"/>
                </a:cxn>
                <a:cxn ang="0">
                  <a:pos x="connsiteX2" y="connsiteY2"/>
                </a:cxn>
                <a:cxn ang="0">
                  <a:pos x="connsiteX3" y="connsiteY3"/>
                </a:cxn>
              </a:cxnLst>
              <a:rect l="l" t="t" r="r" b="b"/>
              <a:pathLst>
                <a:path w="255902" h="271073">
                  <a:moveTo>
                    <a:pt x="4521" y="129705"/>
                  </a:moveTo>
                  <a:cubicBezTo>
                    <a:pt x="28247" y="72396"/>
                    <a:pt x="210182" y="0"/>
                    <a:pt x="255902" y="0"/>
                  </a:cubicBezTo>
                  <a:cubicBezTo>
                    <a:pt x="242848" y="87577"/>
                    <a:pt x="202261" y="229163"/>
                    <a:pt x="128437" y="264385"/>
                  </a:cubicBezTo>
                  <a:cubicBezTo>
                    <a:pt x="54613" y="299607"/>
                    <a:pt x="-19205" y="187014"/>
                    <a:pt x="4521" y="129705"/>
                  </a:cubicBez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dirty="0"/>
            </a:p>
          </p:txBody>
        </p:sp>
        <p:sp>
          <p:nvSpPr>
            <p:cNvPr id="82" name="Freeform 81"/>
            <p:cNvSpPr/>
            <p:nvPr/>
          </p:nvSpPr>
          <p:spPr>
            <a:xfrm>
              <a:off x="3830990" y="-194517"/>
              <a:ext cx="527980" cy="1329515"/>
            </a:xfrm>
            <a:custGeom>
              <a:avLst/>
              <a:gdLst>
                <a:gd name="connsiteX0" fmla="*/ 246773 w 527980"/>
                <a:gd name="connsiteY0" fmla="*/ 0 h 1329515"/>
                <a:gd name="connsiteX1" fmla="*/ 231470 w 527980"/>
                <a:gd name="connsiteY1" fmla="*/ 420853 h 1329515"/>
                <a:gd name="connsiteX2" fmla="*/ 114778 w 527980"/>
                <a:gd name="connsiteY2" fmla="*/ 344335 h 1329515"/>
                <a:gd name="connsiteX3" fmla="*/ 233383 w 527980"/>
                <a:gd name="connsiteY3" fmla="*/ 497372 h 1329515"/>
                <a:gd name="connsiteX4" fmla="*/ 227644 w 527980"/>
                <a:gd name="connsiteY4" fmla="*/ 615976 h 1329515"/>
                <a:gd name="connsiteX5" fmla="*/ 53563 w 527980"/>
                <a:gd name="connsiteY5" fmla="*/ 501198 h 1329515"/>
                <a:gd name="connsiteX6" fmla="*/ 219992 w 527980"/>
                <a:gd name="connsiteY6" fmla="*/ 696321 h 1329515"/>
                <a:gd name="connsiteX7" fmla="*/ 206601 w 527980"/>
                <a:gd name="connsiteY7" fmla="*/ 885705 h 1329515"/>
                <a:gd name="connsiteX8" fmla="*/ 0 w 527980"/>
                <a:gd name="connsiteY8" fmla="*/ 719277 h 1329515"/>
                <a:gd name="connsiteX9" fmla="*/ 212340 w 527980"/>
                <a:gd name="connsiteY9" fmla="*/ 950746 h 1329515"/>
                <a:gd name="connsiteX10" fmla="*/ 177907 w 527980"/>
                <a:gd name="connsiteY10" fmla="*/ 1329515 h 1329515"/>
                <a:gd name="connsiteX11" fmla="*/ 340509 w 527980"/>
                <a:gd name="connsiteY11" fmla="*/ 1323776 h 1329515"/>
                <a:gd name="connsiteX12" fmla="*/ 294598 w 527980"/>
                <a:gd name="connsiteY12" fmla="*/ 893357 h 1329515"/>
                <a:gd name="connsiteX13" fmla="*/ 527980 w 527980"/>
                <a:gd name="connsiteY13" fmla="*/ 637019 h 1329515"/>
                <a:gd name="connsiteX14" fmla="*/ 307989 w 527980"/>
                <a:gd name="connsiteY14" fmla="*/ 807274 h 1329515"/>
                <a:gd name="connsiteX15" fmla="*/ 296511 w 527980"/>
                <a:gd name="connsiteY15" fmla="*/ 633193 h 1329515"/>
                <a:gd name="connsiteX16" fmla="*/ 472504 w 527980"/>
                <a:gd name="connsiteY16" fmla="*/ 426592 h 1329515"/>
                <a:gd name="connsiteX17" fmla="*/ 294598 w 527980"/>
                <a:gd name="connsiteY17" fmla="*/ 541371 h 1329515"/>
                <a:gd name="connsiteX18" fmla="*/ 288859 w 527980"/>
                <a:gd name="connsiteY18" fmla="*/ 373029 h 1329515"/>
                <a:gd name="connsiteX19" fmla="*/ 371117 w 527980"/>
                <a:gd name="connsiteY19" fmla="*/ 256338 h 1329515"/>
                <a:gd name="connsiteX20" fmla="*/ 281207 w 527980"/>
                <a:gd name="connsiteY20" fmla="*/ 300336 h 1329515"/>
                <a:gd name="connsiteX21" fmla="*/ 246773 w 527980"/>
                <a:gd name="connsiteY21" fmla="*/ 0 h 13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7980" h="1329515">
                  <a:moveTo>
                    <a:pt x="246773" y="0"/>
                  </a:moveTo>
                  <a:lnTo>
                    <a:pt x="231470" y="420853"/>
                  </a:lnTo>
                  <a:lnTo>
                    <a:pt x="114778" y="344335"/>
                  </a:lnTo>
                  <a:lnTo>
                    <a:pt x="233383" y="497372"/>
                  </a:lnTo>
                  <a:lnTo>
                    <a:pt x="227644" y="615976"/>
                  </a:lnTo>
                  <a:lnTo>
                    <a:pt x="53563" y="501198"/>
                  </a:lnTo>
                  <a:lnTo>
                    <a:pt x="219992" y="696321"/>
                  </a:lnTo>
                  <a:lnTo>
                    <a:pt x="206601" y="885705"/>
                  </a:lnTo>
                  <a:lnTo>
                    <a:pt x="0" y="719277"/>
                  </a:lnTo>
                  <a:lnTo>
                    <a:pt x="212340" y="950746"/>
                  </a:lnTo>
                  <a:lnTo>
                    <a:pt x="177907" y="1329515"/>
                  </a:lnTo>
                  <a:lnTo>
                    <a:pt x="340509" y="1323776"/>
                  </a:lnTo>
                  <a:lnTo>
                    <a:pt x="294598" y="893357"/>
                  </a:lnTo>
                  <a:lnTo>
                    <a:pt x="527980" y="637019"/>
                  </a:lnTo>
                  <a:lnTo>
                    <a:pt x="307989" y="807274"/>
                  </a:lnTo>
                  <a:lnTo>
                    <a:pt x="296511" y="633193"/>
                  </a:lnTo>
                  <a:lnTo>
                    <a:pt x="472504" y="426592"/>
                  </a:lnTo>
                  <a:lnTo>
                    <a:pt x="294598" y="541371"/>
                  </a:lnTo>
                  <a:lnTo>
                    <a:pt x="288859" y="373029"/>
                  </a:lnTo>
                  <a:lnTo>
                    <a:pt x="371117" y="256338"/>
                  </a:lnTo>
                  <a:lnTo>
                    <a:pt x="281207" y="300336"/>
                  </a:lnTo>
                  <a:lnTo>
                    <a:pt x="246773" y="0"/>
                  </a:lnTo>
                  <a:close/>
                </a:path>
              </a:pathLst>
            </a:custGeom>
            <a:solidFill>
              <a:srgbClr val="007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a:p>
          </p:txBody>
        </p:sp>
        <p:sp>
          <p:nvSpPr>
            <p:cNvPr id="83" name="Freeform 82"/>
            <p:cNvSpPr/>
            <p:nvPr/>
          </p:nvSpPr>
          <p:spPr>
            <a:xfrm>
              <a:off x="3120055" y="-189384"/>
              <a:ext cx="527980" cy="1329515"/>
            </a:xfrm>
            <a:custGeom>
              <a:avLst/>
              <a:gdLst>
                <a:gd name="connsiteX0" fmla="*/ 246773 w 527980"/>
                <a:gd name="connsiteY0" fmla="*/ 0 h 1329515"/>
                <a:gd name="connsiteX1" fmla="*/ 231470 w 527980"/>
                <a:gd name="connsiteY1" fmla="*/ 420853 h 1329515"/>
                <a:gd name="connsiteX2" fmla="*/ 114778 w 527980"/>
                <a:gd name="connsiteY2" fmla="*/ 344335 h 1329515"/>
                <a:gd name="connsiteX3" fmla="*/ 233383 w 527980"/>
                <a:gd name="connsiteY3" fmla="*/ 497372 h 1329515"/>
                <a:gd name="connsiteX4" fmla="*/ 227644 w 527980"/>
                <a:gd name="connsiteY4" fmla="*/ 615976 h 1329515"/>
                <a:gd name="connsiteX5" fmla="*/ 53563 w 527980"/>
                <a:gd name="connsiteY5" fmla="*/ 501198 h 1329515"/>
                <a:gd name="connsiteX6" fmla="*/ 219992 w 527980"/>
                <a:gd name="connsiteY6" fmla="*/ 696321 h 1329515"/>
                <a:gd name="connsiteX7" fmla="*/ 206601 w 527980"/>
                <a:gd name="connsiteY7" fmla="*/ 885705 h 1329515"/>
                <a:gd name="connsiteX8" fmla="*/ 0 w 527980"/>
                <a:gd name="connsiteY8" fmla="*/ 719277 h 1329515"/>
                <a:gd name="connsiteX9" fmla="*/ 212340 w 527980"/>
                <a:gd name="connsiteY9" fmla="*/ 950746 h 1329515"/>
                <a:gd name="connsiteX10" fmla="*/ 177907 w 527980"/>
                <a:gd name="connsiteY10" fmla="*/ 1329515 h 1329515"/>
                <a:gd name="connsiteX11" fmla="*/ 340509 w 527980"/>
                <a:gd name="connsiteY11" fmla="*/ 1323776 h 1329515"/>
                <a:gd name="connsiteX12" fmla="*/ 294598 w 527980"/>
                <a:gd name="connsiteY12" fmla="*/ 893357 h 1329515"/>
                <a:gd name="connsiteX13" fmla="*/ 527980 w 527980"/>
                <a:gd name="connsiteY13" fmla="*/ 637019 h 1329515"/>
                <a:gd name="connsiteX14" fmla="*/ 307989 w 527980"/>
                <a:gd name="connsiteY14" fmla="*/ 807274 h 1329515"/>
                <a:gd name="connsiteX15" fmla="*/ 296511 w 527980"/>
                <a:gd name="connsiteY15" fmla="*/ 633193 h 1329515"/>
                <a:gd name="connsiteX16" fmla="*/ 472504 w 527980"/>
                <a:gd name="connsiteY16" fmla="*/ 426592 h 1329515"/>
                <a:gd name="connsiteX17" fmla="*/ 294598 w 527980"/>
                <a:gd name="connsiteY17" fmla="*/ 541371 h 1329515"/>
                <a:gd name="connsiteX18" fmla="*/ 288859 w 527980"/>
                <a:gd name="connsiteY18" fmla="*/ 373029 h 1329515"/>
                <a:gd name="connsiteX19" fmla="*/ 371117 w 527980"/>
                <a:gd name="connsiteY19" fmla="*/ 256338 h 1329515"/>
                <a:gd name="connsiteX20" fmla="*/ 281207 w 527980"/>
                <a:gd name="connsiteY20" fmla="*/ 300336 h 1329515"/>
                <a:gd name="connsiteX21" fmla="*/ 246773 w 527980"/>
                <a:gd name="connsiteY21" fmla="*/ 0 h 13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7980" h="1329515">
                  <a:moveTo>
                    <a:pt x="246773" y="0"/>
                  </a:moveTo>
                  <a:lnTo>
                    <a:pt x="231470" y="420853"/>
                  </a:lnTo>
                  <a:lnTo>
                    <a:pt x="114778" y="344335"/>
                  </a:lnTo>
                  <a:lnTo>
                    <a:pt x="233383" y="497372"/>
                  </a:lnTo>
                  <a:lnTo>
                    <a:pt x="227644" y="615976"/>
                  </a:lnTo>
                  <a:lnTo>
                    <a:pt x="53563" y="501198"/>
                  </a:lnTo>
                  <a:lnTo>
                    <a:pt x="219992" y="696321"/>
                  </a:lnTo>
                  <a:lnTo>
                    <a:pt x="206601" y="885705"/>
                  </a:lnTo>
                  <a:lnTo>
                    <a:pt x="0" y="719277"/>
                  </a:lnTo>
                  <a:lnTo>
                    <a:pt x="212340" y="950746"/>
                  </a:lnTo>
                  <a:lnTo>
                    <a:pt x="177907" y="1329515"/>
                  </a:lnTo>
                  <a:lnTo>
                    <a:pt x="340509" y="1323776"/>
                  </a:lnTo>
                  <a:lnTo>
                    <a:pt x="294598" y="893357"/>
                  </a:lnTo>
                  <a:lnTo>
                    <a:pt x="527980" y="637019"/>
                  </a:lnTo>
                  <a:lnTo>
                    <a:pt x="307989" y="807274"/>
                  </a:lnTo>
                  <a:lnTo>
                    <a:pt x="296511" y="633193"/>
                  </a:lnTo>
                  <a:lnTo>
                    <a:pt x="472504" y="426592"/>
                  </a:lnTo>
                  <a:lnTo>
                    <a:pt x="294598" y="541371"/>
                  </a:lnTo>
                  <a:lnTo>
                    <a:pt x="288859" y="373029"/>
                  </a:lnTo>
                  <a:lnTo>
                    <a:pt x="371117" y="256338"/>
                  </a:lnTo>
                  <a:lnTo>
                    <a:pt x="281207" y="300336"/>
                  </a:lnTo>
                  <a:lnTo>
                    <a:pt x="246773" y="0"/>
                  </a:lnTo>
                  <a:close/>
                </a:path>
              </a:pathLst>
            </a:custGeom>
            <a:solidFill>
              <a:srgbClr val="007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06943" rtl="0" eaLnBrk="1" latinLnBrk="0" hangingPunct="1">
                <a:defRPr sz="998" kern="1200">
                  <a:solidFill>
                    <a:schemeClr val="lt1"/>
                  </a:solidFill>
                  <a:latin typeface="+mn-lt"/>
                  <a:ea typeface="+mn-ea"/>
                  <a:cs typeface="+mn-cs"/>
                </a:defRPr>
              </a:lvl1pPr>
              <a:lvl2pPr marL="253472" algn="l" defTabSz="506943" rtl="0" eaLnBrk="1" latinLnBrk="0" hangingPunct="1">
                <a:defRPr sz="998" kern="1200">
                  <a:solidFill>
                    <a:schemeClr val="lt1"/>
                  </a:solidFill>
                  <a:latin typeface="+mn-lt"/>
                  <a:ea typeface="+mn-ea"/>
                  <a:cs typeface="+mn-cs"/>
                </a:defRPr>
              </a:lvl2pPr>
              <a:lvl3pPr marL="506943" algn="l" defTabSz="506943" rtl="0" eaLnBrk="1" latinLnBrk="0" hangingPunct="1">
                <a:defRPr sz="998" kern="1200">
                  <a:solidFill>
                    <a:schemeClr val="lt1"/>
                  </a:solidFill>
                  <a:latin typeface="+mn-lt"/>
                  <a:ea typeface="+mn-ea"/>
                  <a:cs typeface="+mn-cs"/>
                </a:defRPr>
              </a:lvl3pPr>
              <a:lvl4pPr marL="760415" algn="l" defTabSz="506943" rtl="0" eaLnBrk="1" latinLnBrk="0" hangingPunct="1">
                <a:defRPr sz="998" kern="1200">
                  <a:solidFill>
                    <a:schemeClr val="lt1"/>
                  </a:solidFill>
                  <a:latin typeface="+mn-lt"/>
                  <a:ea typeface="+mn-ea"/>
                  <a:cs typeface="+mn-cs"/>
                </a:defRPr>
              </a:lvl4pPr>
              <a:lvl5pPr marL="1013887" algn="l" defTabSz="506943" rtl="0" eaLnBrk="1" latinLnBrk="0" hangingPunct="1">
                <a:defRPr sz="998" kern="1200">
                  <a:solidFill>
                    <a:schemeClr val="lt1"/>
                  </a:solidFill>
                  <a:latin typeface="+mn-lt"/>
                  <a:ea typeface="+mn-ea"/>
                  <a:cs typeface="+mn-cs"/>
                </a:defRPr>
              </a:lvl5pPr>
              <a:lvl6pPr marL="1267358" algn="l" defTabSz="506943" rtl="0" eaLnBrk="1" latinLnBrk="0" hangingPunct="1">
                <a:defRPr sz="998" kern="1200">
                  <a:solidFill>
                    <a:schemeClr val="lt1"/>
                  </a:solidFill>
                  <a:latin typeface="+mn-lt"/>
                  <a:ea typeface="+mn-ea"/>
                  <a:cs typeface="+mn-cs"/>
                </a:defRPr>
              </a:lvl6pPr>
              <a:lvl7pPr marL="1520830" algn="l" defTabSz="506943" rtl="0" eaLnBrk="1" latinLnBrk="0" hangingPunct="1">
                <a:defRPr sz="998" kern="1200">
                  <a:solidFill>
                    <a:schemeClr val="lt1"/>
                  </a:solidFill>
                  <a:latin typeface="+mn-lt"/>
                  <a:ea typeface="+mn-ea"/>
                  <a:cs typeface="+mn-cs"/>
                </a:defRPr>
              </a:lvl7pPr>
              <a:lvl8pPr marL="1774302" algn="l" defTabSz="506943" rtl="0" eaLnBrk="1" latinLnBrk="0" hangingPunct="1">
                <a:defRPr sz="998" kern="1200">
                  <a:solidFill>
                    <a:schemeClr val="lt1"/>
                  </a:solidFill>
                  <a:latin typeface="+mn-lt"/>
                  <a:ea typeface="+mn-ea"/>
                  <a:cs typeface="+mn-cs"/>
                </a:defRPr>
              </a:lvl8pPr>
              <a:lvl9pPr marL="2027773" algn="l" defTabSz="506943" rtl="0" eaLnBrk="1" latinLnBrk="0" hangingPunct="1">
                <a:defRPr sz="998" kern="1200">
                  <a:solidFill>
                    <a:schemeClr val="lt1"/>
                  </a:solidFill>
                  <a:latin typeface="+mn-lt"/>
                  <a:ea typeface="+mn-ea"/>
                  <a:cs typeface="+mn-cs"/>
                </a:defRPr>
              </a:lvl9pPr>
            </a:lstStyle>
            <a:p>
              <a:pPr algn="ctr"/>
              <a:endParaRPr lang="en-US" sz="978"/>
            </a:p>
          </p:txBody>
        </p:sp>
      </p:grpSp>
      <p:grpSp>
        <p:nvGrpSpPr>
          <p:cNvPr id="84" name="Group 83"/>
          <p:cNvGrpSpPr/>
          <p:nvPr/>
        </p:nvGrpSpPr>
        <p:grpSpPr>
          <a:xfrm>
            <a:off x="194537" y="5894169"/>
            <a:ext cx="606737" cy="924699"/>
            <a:chOff x="-47949" y="5045744"/>
            <a:chExt cx="1158616" cy="1765793"/>
          </a:xfrm>
        </p:grpSpPr>
        <p:sp>
          <p:nvSpPr>
            <p:cNvPr id="85" name="Freeform 14"/>
            <p:cNvSpPr>
              <a:spLocks/>
            </p:cNvSpPr>
            <p:nvPr/>
          </p:nvSpPr>
          <p:spPr bwMode="auto">
            <a:xfrm>
              <a:off x="500421" y="5411251"/>
              <a:ext cx="70533" cy="1400286"/>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5158"/>
              <a:endParaRPr lang="en-US" sz="1765">
                <a:solidFill>
                  <a:srgbClr val="000000"/>
                </a:solidFill>
              </a:endParaRPr>
            </a:p>
          </p:txBody>
        </p:sp>
        <p:sp>
          <p:nvSpPr>
            <p:cNvPr id="86" name="Freeform 6"/>
            <p:cNvSpPr>
              <a:spLocks noChangeAspect="1"/>
            </p:cNvSpPr>
            <p:nvPr/>
          </p:nvSpPr>
          <p:spPr bwMode="auto">
            <a:xfrm>
              <a:off x="516150" y="5160704"/>
              <a:ext cx="464195" cy="466529"/>
            </a:xfrm>
            <a:custGeom>
              <a:avLst/>
              <a:gdLst/>
              <a:ahLst/>
              <a:cxnLst/>
              <a:rect l="l" t="t" r="r" b="b"/>
              <a:pathLst>
                <a:path w="4103688" h="4124325">
                  <a:moveTo>
                    <a:pt x="1979185" y="968375"/>
                  </a:moveTo>
                  <a:lnTo>
                    <a:pt x="1835464" y="988219"/>
                  </a:lnTo>
                  <a:lnTo>
                    <a:pt x="1781469" y="1003300"/>
                  </a:lnTo>
                  <a:lnTo>
                    <a:pt x="1727474" y="1019969"/>
                  </a:lnTo>
                  <a:lnTo>
                    <a:pt x="1675067" y="1037431"/>
                  </a:lnTo>
                  <a:lnTo>
                    <a:pt x="1623454" y="1057275"/>
                  </a:lnTo>
                  <a:lnTo>
                    <a:pt x="1551991" y="1092200"/>
                  </a:lnTo>
                  <a:lnTo>
                    <a:pt x="1484497" y="1131888"/>
                  </a:lnTo>
                  <a:lnTo>
                    <a:pt x="1420974" y="1176338"/>
                  </a:lnTo>
                  <a:lnTo>
                    <a:pt x="1360626" y="1226344"/>
                  </a:lnTo>
                  <a:lnTo>
                    <a:pt x="1304249" y="1278731"/>
                  </a:lnTo>
                  <a:lnTo>
                    <a:pt x="1251843" y="1335881"/>
                  </a:lnTo>
                  <a:lnTo>
                    <a:pt x="1204200" y="1397000"/>
                  </a:lnTo>
                  <a:lnTo>
                    <a:pt x="1158940" y="1462088"/>
                  </a:lnTo>
                  <a:lnTo>
                    <a:pt x="1119238" y="1531144"/>
                  </a:lnTo>
                  <a:lnTo>
                    <a:pt x="1081123" y="1600994"/>
                  </a:lnTo>
                  <a:lnTo>
                    <a:pt x="1048568" y="1674813"/>
                  </a:lnTo>
                  <a:lnTo>
                    <a:pt x="1035069" y="1718469"/>
                  </a:lnTo>
                  <a:lnTo>
                    <a:pt x="1022364" y="1763713"/>
                  </a:lnTo>
                  <a:lnTo>
                    <a:pt x="1013630" y="1808163"/>
                  </a:lnTo>
                  <a:lnTo>
                    <a:pt x="1003307" y="1855788"/>
                  </a:lnTo>
                  <a:lnTo>
                    <a:pt x="994573" y="1902619"/>
                  </a:lnTo>
                  <a:lnTo>
                    <a:pt x="985838" y="1955800"/>
                  </a:lnTo>
                  <a:lnTo>
                    <a:pt x="982662" y="2012157"/>
                  </a:lnTo>
                  <a:lnTo>
                    <a:pt x="983456" y="2070100"/>
                  </a:lnTo>
                  <a:lnTo>
                    <a:pt x="987427" y="2127250"/>
                  </a:lnTo>
                  <a:lnTo>
                    <a:pt x="996161" y="2183607"/>
                  </a:lnTo>
                  <a:lnTo>
                    <a:pt x="1004895" y="2235994"/>
                  </a:lnTo>
                  <a:lnTo>
                    <a:pt x="1017600" y="2285207"/>
                  </a:lnTo>
                  <a:lnTo>
                    <a:pt x="1028717" y="2327276"/>
                  </a:lnTo>
                  <a:lnTo>
                    <a:pt x="1057302" y="2411413"/>
                  </a:lnTo>
                  <a:lnTo>
                    <a:pt x="1089064" y="2489994"/>
                  </a:lnTo>
                  <a:lnTo>
                    <a:pt x="1124796" y="2564607"/>
                  </a:lnTo>
                  <a:lnTo>
                    <a:pt x="1165292" y="2635251"/>
                  </a:lnTo>
                  <a:lnTo>
                    <a:pt x="1208964" y="2699544"/>
                  </a:lnTo>
                  <a:lnTo>
                    <a:pt x="1258195" y="2759869"/>
                  </a:lnTo>
                  <a:lnTo>
                    <a:pt x="1310602" y="2816226"/>
                  </a:lnTo>
                  <a:lnTo>
                    <a:pt x="1367773" y="2868613"/>
                  </a:lnTo>
                  <a:lnTo>
                    <a:pt x="1429708" y="2916238"/>
                  </a:lnTo>
                  <a:lnTo>
                    <a:pt x="1495614" y="2959101"/>
                  </a:lnTo>
                  <a:lnTo>
                    <a:pt x="1568665" y="2998788"/>
                  </a:lnTo>
                  <a:lnTo>
                    <a:pt x="1644893" y="3033713"/>
                  </a:lnTo>
                  <a:lnTo>
                    <a:pt x="1675067" y="3046413"/>
                  </a:lnTo>
                  <a:lnTo>
                    <a:pt x="1711593" y="3059907"/>
                  </a:lnTo>
                  <a:lnTo>
                    <a:pt x="1752883" y="3074988"/>
                  </a:lnTo>
                  <a:lnTo>
                    <a:pt x="1797350" y="3088482"/>
                  </a:lnTo>
                  <a:lnTo>
                    <a:pt x="1846580" y="3102769"/>
                  </a:lnTo>
                  <a:lnTo>
                    <a:pt x="1898193" y="3113882"/>
                  </a:lnTo>
                  <a:lnTo>
                    <a:pt x="1949012" y="3123407"/>
                  </a:lnTo>
                  <a:lnTo>
                    <a:pt x="2002213" y="3129757"/>
                  </a:lnTo>
                  <a:lnTo>
                    <a:pt x="2052237" y="3132138"/>
                  </a:lnTo>
                  <a:lnTo>
                    <a:pt x="2103056" y="3129757"/>
                  </a:lnTo>
                  <a:lnTo>
                    <a:pt x="2150698" y="3123407"/>
                  </a:lnTo>
                  <a:lnTo>
                    <a:pt x="2198341" y="3113882"/>
                  </a:lnTo>
                  <a:lnTo>
                    <a:pt x="2247572" y="3105151"/>
                  </a:lnTo>
                  <a:lnTo>
                    <a:pt x="2295214" y="3097213"/>
                  </a:lnTo>
                  <a:lnTo>
                    <a:pt x="2342857" y="3088482"/>
                  </a:lnTo>
                  <a:lnTo>
                    <a:pt x="2387323" y="3076576"/>
                  </a:lnTo>
                  <a:lnTo>
                    <a:pt x="2430201" y="3061494"/>
                  </a:lnTo>
                  <a:lnTo>
                    <a:pt x="2504047" y="3028951"/>
                  </a:lnTo>
                  <a:lnTo>
                    <a:pt x="2575511" y="2992438"/>
                  </a:lnTo>
                  <a:lnTo>
                    <a:pt x="2643005" y="2951163"/>
                  </a:lnTo>
                  <a:lnTo>
                    <a:pt x="2707322" y="2905919"/>
                  </a:lnTo>
                  <a:lnTo>
                    <a:pt x="2768463" y="2857501"/>
                  </a:lnTo>
                  <a:lnTo>
                    <a:pt x="2825634" y="2805113"/>
                  </a:lnTo>
                  <a:lnTo>
                    <a:pt x="2878835" y="2748757"/>
                  </a:lnTo>
                  <a:lnTo>
                    <a:pt x="2928860" y="2688432"/>
                  </a:lnTo>
                  <a:lnTo>
                    <a:pt x="2972532" y="2624932"/>
                  </a:lnTo>
                  <a:lnTo>
                    <a:pt x="3012234" y="2555876"/>
                  </a:lnTo>
                  <a:lnTo>
                    <a:pt x="3046378" y="2485232"/>
                  </a:lnTo>
                  <a:lnTo>
                    <a:pt x="3068611" y="2426494"/>
                  </a:lnTo>
                  <a:lnTo>
                    <a:pt x="3087668" y="2364582"/>
                  </a:lnTo>
                  <a:lnTo>
                    <a:pt x="3105137" y="2301082"/>
                  </a:lnTo>
                  <a:lnTo>
                    <a:pt x="3121812" y="2237582"/>
                  </a:lnTo>
                  <a:lnTo>
                    <a:pt x="3133723" y="2172494"/>
                  </a:lnTo>
                  <a:lnTo>
                    <a:pt x="3140075" y="2105819"/>
                  </a:lnTo>
                  <a:lnTo>
                    <a:pt x="3140075" y="2038350"/>
                  </a:lnTo>
                  <a:lnTo>
                    <a:pt x="3136899" y="1972469"/>
                  </a:lnTo>
                  <a:lnTo>
                    <a:pt x="3128164" y="1905794"/>
                  </a:lnTo>
                  <a:lnTo>
                    <a:pt x="3115460" y="1843882"/>
                  </a:lnTo>
                  <a:lnTo>
                    <a:pt x="3100373" y="1783557"/>
                  </a:lnTo>
                  <a:lnTo>
                    <a:pt x="3082904" y="1726407"/>
                  </a:lnTo>
                  <a:lnTo>
                    <a:pt x="3065435" y="1674813"/>
                  </a:lnTo>
                  <a:lnTo>
                    <a:pt x="3046378" y="1627188"/>
                  </a:lnTo>
                  <a:lnTo>
                    <a:pt x="3016205" y="1562100"/>
                  </a:lnTo>
                  <a:lnTo>
                    <a:pt x="2983649" y="1499394"/>
                  </a:lnTo>
                  <a:lnTo>
                    <a:pt x="2948711" y="1439863"/>
                  </a:lnTo>
                  <a:lnTo>
                    <a:pt x="2909009" y="1383506"/>
                  </a:lnTo>
                  <a:lnTo>
                    <a:pt x="2866925" y="1329531"/>
                  </a:lnTo>
                  <a:lnTo>
                    <a:pt x="2820870" y="1278731"/>
                  </a:lnTo>
                  <a:lnTo>
                    <a:pt x="2772434" y="1231106"/>
                  </a:lnTo>
                  <a:lnTo>
                    <a:pt x="2719233" y="1188244"/>
                  </a:lnTo>
                  <a:lnTo>
                    <a:pt x="2662856" y="1146969"/>
                  </a:lnTo>
                  <a:lnTo>
                    <a:pt x="2603303" y="1111250"/>
                  </a:lnTo>
                  <a:lnTo>
                    <a:pt x="2538985" y="1078706"/>
                  </a:lnTo>
                  <a:lnTo>
                    <a:pt x="2471491" y="1049338"/>
                  </a:lnTo>
                  <a:lnTo>
                    <a:pt x="2400028" y="1026319"/>
                  </a:lnTo>
                  <a:lnTo>
                    <a:pt x="2323800" y="1005681"/>
                  </a:lnTo>
                  <a:lnTo>
                    <a:pt x="2245189" y="989806"/>
                  </a:lnTo>
                  <a:lnTo>
                    <a:pt x="2161021" y="977106"/>
                  </a:lnTo>
                  <a:lnTo>
                    <a:pt x="2072088" y="970756"/>
                  </a:lnTo>
                  <a:close/>
                  <a:moveTo>
                    <a:pt x="1983966" y="0"/>
                  </a:moveTo>
                  <a:lnTo>
                    <a:pt x="2020485" y="0"/>
                  </a:lnTo>
                  <a:lnTo>
                    <a:pt x="2057799" y="1588"/>
                  </a:lnTo>
                  <a:lnTo>
                    <a:pt x="2096700" y="3969"/>
                  </a:lnTo>
                  <a:lnTo>
                    <a:pt x="2136395" y="7144"/>
                  </a:lnTo>
                  <a:lnTo>
                    <a:pt x="2175296" y="11113"/>
                  </a:lnTo>
                  <a:lnTo>
                    <a:pt x="2211816" y="15081"/>
                  </a:lnTo>
                  <a:lnTo>
                    <a:pt x="2246748" y="19844"/>
                  </a:lnTo>
                  <a:lnTo>
                    <a:pt x="2279298" y="22225"/>
                  </a:lnTo>
                  <a:lnTo>
                    <a:pt x="2307084" y="26194"/>
                  </a:lnTo>
                  <a:lnTo>
                    <a:pt x="2329314" y="27781"/>
                  </a:lnTo>
                  <a:lnTo>
                    <a:pt x="2418231" y="576263"/>
                  </a:lnTo>
                  <a:lnTo>
                    <a:pt x="2476980" y="587375"/>
                  </a:lnTo>
                  <a:lnTo>
                    <a:pt x="2535728" y="604044"/>
                  </a:lnTo>
                  <a:lnTo>
                    <a:pt x="2593683" y="625475"/>
                  </a:lnTo>
                  <a:lnTo>
                    <a:pt x="2647669" y="647700"/>
                  </a:lnTo>
                  <a:lnTo>
                    <a:pt x="2697685" y="672306"/>
                  </a:lnTo>
                  <a:lnTo>
                    <a:pt x="2712769" y="681038"/>
                  </a:lnTo>
                  <a:lnTo>
                    <a:pt x="2727853" y="691356"/>
                  </a:lnTo>
                  <a:lnTo>
                    <a:pt x="2745319" y="702469"/>
                  </a:lnTo>
                  <a:lnTo>
                    <a:pt x="2762785" y="713581"/>
                  </a:lnTo>
                  <a:lnTo>
                    <a:pt x="2778663" y="722313"/>
                  </a:lnTo>
                  <a:lnTo>
                    <a:pt x="2793747" y="727869"/>
                  </a:lnTo>
                  <a:lnTo>
                    <a:pt x="2811213" y="727869"/>
                  </a:lnTo>
                  <a:lnTo>
                    <a:pt x="2829473" y="721519"/>
                  </a:lnTo>
                  <a:lnTo>
                    <a:pt x="2847733" y="710406"/>
                  </a:lnTo>
                  <a:lnTo>
                    <a:pt x="2865199" y="696119"/>
                  </a:lnTo>
                  <a:lnTo>
                    <a:pt x="2882664" y="681038"/>
                  </a:lnTo>
                  <a:lnTo>
                    <a:pt x="2897749" y="667544"/>
                  </a:lnTo>
                  <a:lnTo>
                    <a:pt x="2912039" y="654050"/>
                  </a:lnTo>
                  <a:lnTo>
                    <a:pt x="2923947" y="645319"/>
                  </a:lnTo>
                  <a:lnTo>
                    <a:pt x="3034300" y="569119"/>
                  </a:lnTo>
                  <a:lnTo>
                    <a:pt x="3142271" y="493713"/>
                  </a:lnTo>
                  <a:lnTo>
                    <a:pt x="3168470" y="477838"/>
                  </a:lnTo>
                  <a:lnTo>
                    <a:pt x="3194669" y="463550"/>
                  </a:lnTo>
                  <a:lnTo>
                    <a:pt x="3220073" y="447675"/>
                  </a:lnTo>
                  <a:lnTo>
                    <a:pt x="3243891" y="431006"/>
                  </a:lnTo>
                  <a:lnTo>
                    <a:pt x="3266120" y="411163"/>
                  </a:lnTo>
                  <a:lnTo>
                    <a:pt x="3285967" y="421481"/>
                  </a:lnTo>
                  <a:lnTo>
                    <a:pt x="3309785" y="434975"/>
                  </a:lnTo>
                  <a:lnTo>
                    <a:pt x="3335190" y="452438"/>
                  </a:lnTo>
                  <a:lnTo>
                    <a:pt x="3362976" y="475456"/>
                  </a:lnTo>
                  <a:lnTo>
                    <a:pt x="3391557" y="498475"/>
                  </a:lnTo>
                  <a:lnTo>
                    <a:pt x="3420137" y="526256"/>
                  </a:lnTo>
                  <a:lnTo>
                    <a:pt x="3447924" y="554038"/>
                  </a:lnTo>
                  <a:lnTo>
                    <a:pt x="3474917" y="581025"/>
                  </a:lnTo>
                  <a:lnTo>
                    <a:pt x="3501909" y="608806"/>
                  </a:lnTo>
                  <a:lnTo>
                    <a:pt x="3526520" y="635000"/>
                  </a:lnTo>
                  <a:lnTo>
                    <a:pt x="3547956" y="660400"/>
                  </a:lnTo>
                  <a:lnTo>
                    <a:pt x="3565422" y="681038"/>
                  </a:lnTo>
                  <a:lnTo>
                    <a:pt x="3580506" y="700088"/>
                  </a:lnTo>
                  <a:lnTo>
                    <a:pt x="3591620" y="713581"/>
                  </a:lnTo>
                  <a:lnTo>
                    <a:pt x="3605117" y="726281"/>
                  </a:lnTo>
                  <a:lnTo>
                    <a:pt x="3620201" y="738981"/>
                  </a:lnTo>
                  <a:lnTo>
                    <a:pt x="3634491" y="752475"/>
                  </a:lnTo>
                  <a:lnTo>
                    <a:pt x="3645606" y="765969"/>
                  </a:lnTo>
                  <a:lnTo>
                    <a:pt x="3655927" y="784225"/>
                  </a:lnTo>
                  <a:lnTo>
                    <a:pt x="3661484" y="802481"/>
                  </a:lnTo>
                  <a:lnTo>
                    <a:pt x="3643224" y="819944"/>
                  </a:lnTo>
                  <a:lnTo>
                    <a:pt x="3628140" y="839788"/>
                  </a:lnTo>
                  <a:lnTo>
                    <a:pt x="3614644" y="861219"/>
                  </a:lnTo>
                  <a:lnTo>
                    <a:pt x="3601941" y="884238"/>
                  </a:lnTo>
                  <a:lnTo>
                    <a:pt x="3586857" y="906463"/>
                  </a:lnTo>
                  <a:lnTo>
                    <a:pt x="3550337" y="954088"/>
                  </a:lnTo>
                  <a:lnTo>
                    <a:pt x="3511436" y="1001713"/>
                  </a:lnTo>
                  <a:lnTo>
                    <a:pt x="3472535" y="1050131"/>
                  </a:lnTo>
                  <a:lnTo>
                    <a:pt x="3436809" y="1097756"/>
                  </a:lnTo>
                  <a:lnTo>
                    <a:pt x="3417755" y="1126331"/>
                  </a:lnTo>
                  <a:lnTo>
                    <a:pt x="3400290" y="1154906"/>
                  </a:lnTo>
                  <a:lnTo>
                    <a:pt x="3382824" y="1184275"/>
                  </a:lnTo>
                  <a:lnTo>
                    <a:pt x="3362976" y="1211263"/>
                  </a:lnTo>
                  <a:lnTo>
                    <a:pt x="3341541" y="1235075"/>
                  </a:lnTo>
                  <a:lnTo>
                    <a:pt x="3361388" y="1273969"/>
                  </a:lnTo>
                  <a:lnTo>
                    <a:pt x="3383618" y="1312863"/>
                  </a:lnTo>
                  <a:lnTo>
                    <a:pt x="3407435" y="1350169"/>
                  </a:lnTo>
                  <a:lnTo>
                    <a:pt x="3430458" y="1389063"/>
                  </a:lnTo>
                  <a:lnTo>
                    <a:pt x="3450306" y="1427956"/>
                  </a:lnTo>
                  <a:lnTo>
                    <a:pt x="3459038" y="1450181"/>
                  </a:lnTo>
                  <a:lnTo>
                    <a:pt x="3467771" y="1476375"/>
                  </a:lnTo>
                  <a:lnTo>
                    <a:pt x="3474917" y="1504950"/>
                  </a:lnTo>
                  <a:lnTo>
                    <a:pt x="3483650" y="1535113"/>
                  </a:lnTo>
                  <a:lnTo>
                    <a:pt x="3493176" y="1563688"/>
                  </a:lnTo>
                  <a:lnTo>
                    <a:pt x="3502703" y="1589881"/>
                  </a:lnTo>
                  <a:lnTo>
                    <a:pt x="3513024" y="1613694"/>
                  </a:lnTo>
                  <a:lnTo>
                    <a:pt x="3525726" y="1632744"/>
                  </a:lnTo>
                  <a:lnTo>
                    <a:pt x="3543986" y="1641475"/>
                  </a:lnTo>
                  <a:lnTo>
                    <a:pt x="3565422" y="1645444"/>
                  </a:lnTo>
                  <a:lnTo>
                    <a:pt x="3587651" y="1647825"/>
                  </a:lnTo>
                  <a:lnTo>
                    <a:pt x="3610674" y="1648619"/>
                  </a:lnTo>
                  <a:lnTo>
                    <a:pt x="3634491" y="1654175"/>
                  </a:lnTo>
                  <a:lnTo>
                    <a:pt x="3693240" y="1667669"/>
                  </a:lnTo>
                  <a:lnTo>
                    <a:pt x="3754371" y="1678781"/>
                  </a:lnTo>
                  <a:lnTo>
                    <a:pt x="3815501" y="1689894"/>
                  </a:lnTo>
                  <a:lnTo>
                    <a:pt x="3877426" y="1702594"/>
                  </a:lnTo>
                  <a:lnTo>
                    <a:pt x="3936175" y="1715294"/>
                  </a:lnTo>
                  <a:lnTo>
                    <a:pt x="3953640" y="1719263"/>
                  </a:lnTo>
                  <a:lnTo>
                    <a:pt x="3972694" y="1721644"/>
                  </a:lnTo>
                  <a:lnTo>
                    <a:pt x="3992542" y="1722438"/>
                  </a:lnTo>
                  <a:lnTo>
                    <a:pt x="4012389" y="1724025"/>
                  </a:lnTo>
                  <a:lnTo>
                    <a:pt x="4031443" y="1727994"/>
                  </a:lnTo>
                  <a:lnTo>
                    <a:pt x="4048909" y="1731169"/>
                  </a:lnTo>
                  <a:lnTo>
                    <a:pt x="4062405" y="1739106"/>
                  </a:lnTo>
                  <a:lnTo>
                    <a:pt x="4072726" y="1750219"/>
                  </a:lnTo>
                  <a:lnTo>
                    <a:pt x="4079077" y="1765300"/>
                  </a:lnTo>
                  <a:lnTo>
                    <a:pt x="4082253" y="1782763"/>
                  </a:lnTo>
                  <a:lnTo>
                    <a:pt x="4082253" y="1801813"/>
                  </a:lnTo>
                  <a:lnTo>
                    <a:pt x="4082253" y="1820069"/>
                  </a:lnTo>
                  <a:lnTo>
                    <a:pt x="4083841" y="1839913"/>
                  </a:lnTo>
                  <a:lnTo>
                    <a:pt x="4086222" y="1860550"/>
                  </a:lnTo>
                  <a:lnTo>
                    <a:pt x="4094955" y="1913731"/>
                  </a:lnTo>
                  <a:lnTo>
                    <a:pt x="4101307" y="1970088"/>
                  </a:lnTo>
                  <a:lnTo>
                    <a:pt x="4102894" y="2028825"/>
                  </a:lnTo>
                  <a:lnTo>
                    <a:pt x="4103688" y="2089150"/>
                  </a:lnTo>
                  <a:lnTo>
                    <a:pt x="4102894" y="2150269"/>
                  </a:lnTo>
                  <a:lnTo>
                    <a:pt x="4100513" y="2211388"/>
                  </a:lnTo>
                  <a:lnTo>
                    <a:pt x="4100513" y="2271713"/>
                  </a:lnTo>
                  <a:lnTo>
                    <a:pt x="4092574" y="2278063"/>
                  </a:lnTo>
                  <a:lnTo>
                    <a:pt x="4027474" y="2280444"/>
                  </a:lnTo>
                  <a:lnTo>
                    <a:pt x="3959992" y="2287588"/>
                  </a:lnTo>
                  <a:lnTo>
                    <a:pt x="3890922" y="2297906"/>
                  </a:lnTo>
                  <a:lnTo>
                    <a:pt x="3821852" y="2310606"/>
                  </a:lnTo>
                  <a:lnTo>
                    <a:pt x="3753577" y="2324100"/>
                  </a:lnTo>
                  <a:lnTo>
                    <a:pt x="3684507" y="2337594"/>
                  </a:lnTo>
                  <a:lnTo>
                    <a:pt x="3617819" y="2350294"/>
                  </a:lnTo>
                  <a:lnTo>
                    <a:pt x="3552719" y="2360613"/>
                  </a:lnTo>
                  <a:lnTo>
                    <a:pt x="3541604" y="2434431"/>
                  </a:lnTo>
                  <a:lnTo>
                    <a:pt x="3524139" y="2506663"/>
                  </a:lnTo>
                  <a:lnTo>
                    <a:pt x="3501909" y="2575719"/>
                  </a:lnTo>
                  <a:lnTo>
                    <a:pt x="3476504" y="2641600"/>
                  </a:lnTo>
                  <a:lnTo>
                    <a:pt x="3450306" y="2704306"/>
                  </a:lnTo>
                  <a:lnTo>
                    <a:pt x="3439191" y="2726531"/>
                  </a:lnTo>
                  <a:lnTo>
                    <a:pt x="3426488" y="2747963"/>
                  </a:lnTo>
                  <a:lnTo>
                    <a:pt x="3413786" y="2769394"/>
                  </a:lnTo>
                  <a:lnTo>
                    <a:pt x="3402671" y="2793206"/>
                  </a:lnTo>
                  <a:lnTo>
                    <a:pt x="3395526" y="2820194"/>
                  </a:lnTo>
                  <a:lnTo>
                    <a:pt x="3413786" y="2837656"/>
                  </a:lnTo>
                  <a:lnTo>
                    <a:pt x="3430458" y="2859088"/>
                  </a:lnTo>
                  <a:lnTo>
                    <a:pt x="3443954" y="2881313"/>
                  </a:lnTo>
                  <a:lnTo>
                    <a:pt x="3456657" y="2905125"/>
                  </a:lnTo>
                  <a:lnTo>
                    <a:pt x="3470153" y="2928144"/>
                  </a:lnTo>
                  <a:lnTo>
                    <a:pt x="3483650" y="2950369"/>
                  </a:lnTo>
                  <a:lnTo>
                    <a:pt x="3536841" y="3021806"/>
                  </a:lnTo>
                  <a:lnTo>
                    <a:pt x="3590826" y="3091656"/>
                  </a:lnTo>
                  <a:lnTo>
                    <a:pt x="3641636" y="3163888"/>
                  </a:lnTo>
                  <a:lnTo>
                    <a:pt x="3655927" y="3186906"/>
                  </a:lnTo>
                  <a:lnTo>
                    <a:pt x="3669423" y="3210719"/>
                  </a:lnTo>
                  <a:lnTo>
                    <a:pt x="3682919" y="3234531"/>
                  </a:lnTo>
                  <a:lnTo>
                    <a:pt x="3698003" y="3255169"/>
                  </a:lnTo>
                  <a:lnTo>
                    <a:pt x="3717057" y="3272631"/>
                  </a:lnTo>
                  <a:lnTo>
                    <a:pt x="3710706" y="3280569"/>
                  </a:lnTo>
                  <a:lnTo>
                    <a:pt x="3675774" y="3331369"/>
                  </a:lnTo>
                  <a:lnTo>
                    <a:pt x="3636873" y="3381375"/>
                  </a:lnTo>
                  <a:lnTo>
                    <a:pt x="3595590" y="3431381"/>
                  </a:lnTo>
                  <a:lnTo>
                    <a:pt x="3550337" y="3479006"/>
                  </a:lnTo>
                  <a:lnTo>
                    <a:pt x="3504291" y="3522663"/>
                  </a:lnTo>
                  <a:lnTo>
                    <a:pt x="3457451" y="3561556"/>
                  </a:lnTo>
                  <a:lnTo>
                    <a:pt x="3439191" y="3578225"/>
                  </a:lnTo>
                  <a:lnTo>
                    <a:pt x="3422519" y="3595688"/>
                  </a:lnTo>
                  <a:lnTo>
                    <a:pt x="3406641" y="3613944"/>
                  </a:lnTo>
                  <a:lnTo>
                    <a:pt x="3389969" y="3631406"/>
                  </a:lnTo>
                  <a:lnTo>
                    <a:pt x="3370121" y="3646488"/>
                  </a:lnTo>
                  <a:lnTo>
                    <a:pt x="3347892" y="3658394"/>
                  </a:lnTo>
                  <a:lnTo>
                    <a:pt x="3331220" y="3639344"/>
                  </a:lnTo>
                  <a:lnTo>
                    <a:pt x="3311372" y="3622675"/>
                  </a:lnTo>
                  <a:lnTo>
                    <a:pt x="3288349" y="3609181"/>
                  </a:lnTo>
                  <a:lnTo>
                    <a:pt x="3267708" y="3596481"/>
                  </a:lnTo>
                  <a:lnTo>
                    <a:pt x="3244684" y="3581400"/>
                  </a:lnTo>
                  <a:lnTo>
                    <a:pt x="3189905" y="3539331"/>
                  </a:lnTo>
                  <a:lnTo>
                    <a:pt x="3135920" y="3494088"/>
                  </a:lnTo>
                  <a:lnTo>
                    <a:pt x="3081140" y="3452019"/>
                  </a:lnTo>
                  <a:lnTo>
                    <a:pt x="3047002" y="3429000"/>
                  </a:lnTo>
                  <a:lnTo>
                    <a:pt x="3012865" y="3408363"/>
                  </a:lnTo>
                  <a:lnTo>
                    <a:pt x="2977933" y="3385344"/>
                  </a:lnTo>
                  <a:lnTo>
                    <a:pt x="2945383" y="3361531"/>
                  </a:lnTo>
                  <a:lnTo>
                    <a:pt x="2916802" y="3335338"/>
                  </a:lnTo>
                  <a:lnTo>
                    <a:pt x="2892985" y="3348831"/>
                  </a:lnTo>
                  <a:lnTo>
                    <a:pt x="2870756" y="3365500"/>
                  </a:lnTo>
                  <a:lnTo>
                    <a:pt x="2849320" y="3381375"/>
                  </a:lnTo>
                  <a:lnTo>
                    <a:pt x="2827885" y="3396456"/>
                  </a:lnTo>
                  <a:lnTo>
                    <a:pt x="2780251" y="3424238"/>
                  </a:lnTo>
                  <a:lnTo>
                    <a:pt x="2730235" y="3448050"/>
                  </a:lnTo>
                  <a:lnTo>
                    <a:pt x="2677837" y="3471863"/>
                  </a:lnTo>
                  <a:lnTo>
                    <a:pt x="2626234" y="3493294"/>
                  </a:lnTo>
                  <a:lnTo>
                    <a:pt x="2574630" y="3513138"/>
                  </a:lnTo>
                  <a:lnTo>
                    <a:pt x="2558752" y="3519488"/>
                  </a:lnTo>
                  <a:lnTo>
                    <a:pt x="2541286" y="3522663"/>
                  </a:lnTo>
                  <a:lnTo>
                    <a:pt x="2523820" y="3526631"/>
                  </a:lnTo>
                  <a:lnTo>
                    <a:pt x="2506354" y="3529013"/>
                  </a:lnTo>
                  <a:lnTo>
                    <a:pt x="2488888" y="3534569"/>
                  </a:lnTo>
                  <a:lnTo>
                    <a:pt x="2473804" y="3540125"/>
                  </a:lnTo>
                  <a:lnTo>
                    <a:pt x="2461102" y="3548856"/>
                  </a:lnTo>
                  <a:lnTo>
                    <a:pt x="2452369" y="3561556"/>
                  </a:lnTo>
                  <a:lnTo>
                    <a:pt x="2441254" y="3582988"/>
                  </a:lnTo>
                  <a:lnTo>
                    <a:pt x="2434903" y="3608388"/>
                  </a:lnTo>
                  <a:lnTo>
                    <a:pt x="2430933" y="3635375"/>
                  </a:lnTo>
                  <a:lnTo>
                    <a:pt x="2428552" y="3663156"/>
                  </a:lnTo>
                  <a:lnTo>
                    <a:pt x="2426170" y="3691731"/>
                  </a:lnTo>
                  <a:lnTo>
                    <a:pt x="2423788" y="3720306"/>
                  </a:lnTo>
                  <a:lnTo>
                    <a:pt x="2418231" y="3746500"/>
                  </a:lnTo>
                  <a:lnTo>
                    <a:pt x="2400765" y="3815556"/>
                  </a:lnTo>
                  <a:lnTo>
                    <a:pt x="2384887" y="3885406"/>
                  </a:lnTo>
                  <a:lnTo>
                    <a:pt x="2369803" y="3958431"/>
                  </a:lnTo>
                  <a:lnTo>
                    <a:pt x="2357894" y="4031456"/>
                  </a:lnTo>
                  <a:lnTo>
                    <a:pt x="2349161" y="4104481"/>
                  </a:lnTo>
                  <a:lnTo>
                    <a:pt x="2151479" y="4124325"/>
                  </a:lnTo>
                  <a:lnTo>
                    <a:pt x="1836299" y="4117975"/>
                  </a:lnTo>
                  <a:lnTo>
                    <a:pt x="1829948" y="4110831"/>
                  </a:lnTo>
                  <a:lnTo>
                    <a:pt x="1747382" y="3567906"/>
                  </a:lnTo>
                  <a:lnTo>
                    <a:pt x="1689427" y="3561556"/>
                  </a:lnTo>
                  <a:lnTo>
                    <a:pt x="1630678" y="3548856"/>
                  </a:lnTo>
                  <a:lnTo>
                    <a:pt x="1573517" y="3531394"/>
                  </a:lnTo>
                  <a:lnTo>
                    <a:pt x="1517944" y="3509169"/>
                  </a:lnTo>
                  <a:lnTo>
                    <a:pt x="1465546" y="3486944"/>
                  </a:lnTo>
                  <a:lnTo>
                    <a:pt x="1416324" y="3461544"/>
                  </a:lnTo>
                  <a:lnTo>
                    <a:pt x="1371866" y="3437731"/>
                  </a:lnTo>
                  <a:lnTo>
                    <a:pt x="1363133" y="3432969"/>
                  </a:lnTo>
                  <a:lnTo>
                    <a:pt x="1351224" y="3426619"/>
                  </a:lnTo>
                  <a:lnTo>
                    <a:pt x="1339316" y="3419475"/>
                  </a:lnTo>
                  <a:lnTo>
                    <a:pt x="1324232" y="3411538"/>
                  </a:lnTo>
                  <a:lnTo>
                    <a:pt x="1309147" y="3402806"/>
                  </a:lnTo>
                  <a:lnTo>
                    <a:pt x="1294063" y="3395663"/>
                  </a:lnTo>
                  <a:lnTo>
                    <a:pt x="1279773" y="3389313"/>
                  </a:lnTo>
                  <a:lnTo>
                    <a:pt x="1268658" y="3384550"/>
                  </a:lnTo>
                  <a:lnTo>
                    <a:pt x="1259925" y="3381375"/>
                  </a:lnTo>
                  <a:lnTo>
                    <a:pt x="1255162" y="3382963"/>
                  </a:lnTo>
                  <a:lnTo>
                    <a:pt x="1211497" y="3408363"/>
                  </a:lnTo>
                  <a:lnTo>
                    <a:pt x="1170214" y="3436938"/>
                  </a:lnTo>
                  <a:lnTo>
                    <a:pt x="1129725" y="3467100"/>
                  </a:lnTo>
                  <a:lnTo>
                    <a:pt x="1090030" y="3498056"/>
                  </a:lnTo>
                  <a:lnTo>
                    <a:pt x="1049541" y="3526631"/>
                  </a:lnTo>
                  <a:lnTo>
                    <a:pt x="1012227" y="3550444"/>
                  </a:lnTo>
                  <a:lnTo>
                    <a:pt x="971738" y="3571875"/>
                  </a:lnTo>
                  <a:lnTo>
                    <a:pt x="934425" y="3595688"/>
                  </a:lnTo>
                  <a:lnTo>
                    <a:pt x="912989" y="3613150"/>
                  </a:lnTo>
                  <a:lnTo>
                    <a:pt x="890760" y="3631406"/>
                  </a:lnTo>
                  <a:lnTo>
                    <a:pt x="867737" y="3650456"/>
                  </a:lnTo>
                  <a:lnTo>
                    <a:pt x="844714" y="3667919"/>
                  </a:lnTo>
                  <a:lnTo>
                    <a:pt x="817721" y="3683000"/>
                  </a:lnTo>
                  <a:lnTo>
                    <a:pt x="790728" y="3691731"/>
                  </a:lnTo>
                  <a:lnTo>
                    <a:pt x="769293" y="3665538"/>
                  </a:lnTo>
                  <a:lnTo>
                    <a:pt x="743094" y="3639344"/>
                  </a:lnTo>
                  <a:lnTo>
                    <a:pt x="713720" y="3613944"/>
                  </a:lnTo>
                  <a:lnTo>
                    <a:pt x="684345" y="3590131"/>
                  </a:lnTo>
                  <a:lnTo>
                    <a:pt x="654177" y="3569494"/>
                  </a:lnTo>
                  <a:lnTo>
                    <a:pt x="626390" y="3548063"/>
                  </a:lnTo>
                  <a:lnTo>
                    <a:pt x="530328" y="3437731"/>
                  </a:lnTo>
                  <a:lnTo>
                    <a:pt x="512862" y="3420269"/>
                  </a:lnTo>
                  <a:lnTo>
                    <a:pt x="492221" y="3400425"/>
                  </a:lnTo>
                  <a:lnTo>
                    <a:pt x="473961" y="3380581"/>
                  </a:lnTo>
                  <a:lnTo>
                    <a:pt x="457289" y="3359150"/>
                  </a:lnTo>
                  <a:lnTo>
                    <a:pt x="446174" y="3337719"/>
                  </a:lnTo>
                  <a:lnTo>
                    <a:pt x="441411" y="3313906"/>
                  </a:lnTo>
                  <a:lnTo>
                    <a:pt x="456495" y="3302000"/>
                  </a:lnTo>
                  <a:lnTo>
                    <a:pt x="467610" y="3287713"/>
                  </a:lnTo>
                  <a:lnTo>
                    <a:pt x="476342" y="3271838"/>
                  </a:lnTo>
                  <a:lnTo>
                    <a:pt x="485869" y="3255169"/>
                  </a:lnTo>
                  <a:lnTo>
                    <a:pt x="496190" y="3239294"/>
                  </a:lnTo>
                  <a:lnTo>
                    <a:pt x="577962" y="3126581"/>
                  </a:lnTo>
                  <a:lnTo>
                    <a:pt x="660528" y="3013075"/>
                  </a:lnTo>
                  <a:lnTo>
                    <a:pt x="674024" y="2995613"/>
                  </a:lnTo>
                  <a:lnTo>
                    <a:pt x="690696" y="2976563"/>
                  </a:lnTo>
                  <a:lnTo>
                    <a:pt x="706574" y="2959100"/>
                  </a:lnTo>
                  <a:lnTo>
                    <a:pt x="723246" y="2940050"/>
                  </a:lnTo>
                  <a:lnTo>
                    <a:pt x="736743" y="2920206"/>
                  </a:lnTo>
                  <a:lnTo>
                    <a:pt x="749445" y="2898775"/>
                  </a:lnTo>
                  <a:lnTo>
                    <a:pt x="756590" y="2875756"/>
                  </a:lnTo>
                  <a:lnTo>
                    <a:pt x="730392" y="2843213"/>
                  </a:lnTo>
                  <a:lnTo>
                    <a:pt x="706574" y="2806700"/>
                  </a:lnTo>
                  <a:lnTo>
                    <a:pt x="685139" y="2767013"/>
                  </a:lnTo>
                  <a:lnTo>
                    <a:pt x="666879" y="2724150"/>
                  </a:lnTo>
                  <a:lnTo>
                    <a:pt x="647826" y="2680494"/>
                  </a:lnTo>
                  <a:lnTo>
                    <a:pt x="631154" y="2636838"/>
                  </a:lnTo>
                  <a:lnTo>
                    <a:pt x="615276" y="2593975"/>
                  </a:lnTo>
                  <a:lnTo>
                    <a:pt x="598604" y="2552700"/>
                  </a:lnTo>
                  <a:lnTo>
                    <a:pt x="591458" y="2528888"/>
                  </a:lnTo>
                  <a:lnTo>
                    <a:pt x="586695" y="2502694"/>
                  </a:lnTo>
                  <a:lnTo>
                    <a:pt x="582726" y="2476500"/>
                  </a:lnTo>
                  <a:lnTo>
                    <a:pt x="577962" y="2451894"/>
                  </a:lnTo>
                  <a:lnTo>
                    <a:pt x="570023" y="2428875"/>
                  </a:lnTo>
                  <a:lnTo>
                    <a:pt x="557321" y="2409031"/>
                  </a:lnTo>
                  <a:lnTo>
                    <a:pt x="536679" y="2398713"/>
                  </a:lnTo>
                  <a:lnTo>
                    <a:pt x="512862" y="2393950"/>
                  </a:lnTo>
                  <a:lnTo>
                    <a:pt x="487457" y="2389981"/>
                  </a:lnTo>
                  <a:lnTo>
                    <a:pt x="459670" y="2389188"/>
                  </a:lnTo>
                  <a:lnTo>
                    <a:pt x="433472" y="2386806"/>
                  </a:lnTo>
                  <a:lnTo>
                    <a:pt x="407273" y="2381250"/>
                  </a:lnTo>
                  <a:lnTo>
                    <a:pt x="342173" y="2366963"/>
                  </a:lnTo>
                  <a:lnTo>
                    <a:pt x="274691" y="2354263"/>
                  </a:lnTo>
                  <a:lnTo>
                    <a:pt x="205621" y="2339975"/>
                  </a:lnTo>
                  <a:lnTo>
                    <a:pt x="140521" y="2326481"/>
                  </a:lnTo>
                  <a:lnTo>
                    <a:pt x="120674" y="2322513"/>
                  </a:lnTo>
                  <a:lnTo>
                    <a:pt x="99238" y="2321719"/>
                  </a:lnTo>
                  <a:lnTo>
                    <a:pt x="79391" y="2320131"/>
                  </a:lnTo>
                  <a:lnTo>
                    <a:pt x="59543" y="2317750"/>
                  </a:lnTo>
                  <a:lnTo>
                    <a:pt x="40489" y="2313781"/>
                  </a:lnTo>
                  <a:lnTo>
                    <a:pt x="23817" y="2305050"/>
                  </a:lnTo>
                  <a:lnTo>
                    <a:pt x="16672" y="2289969"/>
                  </a:lnTo>
                  <a:lnTo>
                    <a:pt x="11909" y="2269331"/>
                  </a:lnTo>
                  <a:lnTo>
                    <a:pt x="6351" y="2241550"/>
                  </a:lnTo>
                  <a:lnTo>
                    <a:pt x="3970" y="2211388"/>
                  </a:lnTo>
                  <a:lnTo>
                    <a:pt x="1588" y="2176463"/>
                  </a:lnTo>
                  <a:lnTo>
                    <a:pt x="0" y="2139950"/>
                  </a:lnTo>
                  <a:lnTo>
                    <a:pt x="0" y="2102644"/>
                  </a:lnTo>
                  <a:lnTo>
                    <a:pt x="1588" y="2065338"/>
                  </a:lnTo>
                  <a:lnTo>
                    <a:pt x="3176" y="2028031"/>
                  </a:lnTo>
                  <a:lnTo>
                    <a:pt x="5557" y="1993106"/>
                  </a:lnTo>
                  <a:lnTo>
                    <a:pt x="7939" y="1960563"/>
                  </a:lnTo>
                  <a:lnTo>
                    <a:pt x="10321" y="1931194"/>
                  </a:lnTo>
                  <a:lnTo>
                    <a:pt x="14290" y="1906588"/>
                  </a:lnTo>
                  <a:lnTo>
                    <a:pt x="18260" y="1887538"/>
                  </a:lnTo>
                  <a:lnTo>
                    <a:pt x="20642" y="1869281"/>
                  </a:lnTo>
                  <a:lnTo>
                    <a:pt x="20642" y="1851819"/>
                  </a:lnTo>
                  <a:lnTo>
                    <a:pt x="20642" y="1835150"/>
                  </a:lnTo>
                  <a:lnTo>
                    <a:pt x="20642" y="1819275"/>
                  </a:lnTo>
                  <a:lnTo>
                    <a:pt x="21436" y="1804988"/>
                  </a:lnTo>
                  <a:lnTo>
                    <a:pt x="27787" y="1793875"/>
                  </a:lnTo>
                  <a:lnTo>
                    <a:pt x="38108" y="1784350"/>
                  </a:lnTo>
                  <a:lnTo>
                    <a:pt x="571611" y="1695450"/>
                  </a:lnTo>
                  <a:lnTo>
                    <a:pt x="582726" y="1632744"/>
                  </a:lnTo>
                  <a:lnTo>
                    <a:pt x="598604" y="1571625"/>
                  </a:lnTo>
                  <a:lnTo>
                    <a:pt x="621627" y="1511300"/>
                  </a:lnTo>
                  <a:lnTo>
                    <a:pt x="647826" y="1454944"/>
                  </a:lnTo>
                  <a:lnTo>
                    <a:pt x="674024" y="1401763"/>
                  </a:lnTo>
                  <a:lnTo>
                    <a:pt x="701811" y="1351756"/>
                  </a:lnTo>
                  <a:lnTo>
                    <a:pt x="706574" y="1343819"/>
                  </a:lnTo>
                  <a:lnTo>
                    <a:pt x="712926" y="1331119"/>
                  </a:lnTo>
                  <a:lnTo>
                    <a:pt x="720071" y="1319213"/>
                  </a:lnTo>
                  <a:lnTo>
                    <a:pt x="728804" y="1304131"/>
                  </a:lnTo>
                  <a:lnTo>
                    <a:pt x="736743" y="1289050"/>
                  </a:lnTo>
                  <a:lnTo>
                    <a:pt x="743094" y="1275556"/>
                  </a:lnTo>
                  <a:lnTo>
                    <a:pt x="747857" y="1263650"/>
                  </a:lnTo>
                  <a:lnTo>
                    <a:pt x="750239" y="1254125"/>
                  </a:lnTo>
                  <a:lnTo>
                    <a:pt x="749445" y="1248569"/>
                  </a:lnTo>
                  <a:lnTo>
                    <a:pt x="739125" y="1223963"/>
                  </a:lnTo>
                  <a:lnTo>
                    <a:pt x="724040" y="1201738"/>
                  </a:lnTo>
                  <a:lnTo>
                    <a:pt x="706574" y="1180306"/>
                  </a:lnTo>
                  <a:lnTo>
                    <a:pt x="690696" y="1160463"/>
                  </a:lnTo>
                  <a:lnTo>
                    <a:pt x="674024" y="1139031"/>
                  </a:lnTo>
                  <a:lnTo>
                    <a:pt x="636711" y="1082675"/>
                  </a:lnTo>
                  <a:lnTo>
                    <a:pt x="602573" y="1026319"/>
                  </a:lnTo>
                  <a:lnTo>
                    <a:pt x="567641" y="969169"/>
                  </a:lnTo>
                  <a:lnTo>
                    <a:pt x="530328" y="912813"/>
                  </a:lnTo>
                  <a:lnTo>
                    <a:pt x="515244" y="892969"/>
                  </a:lnTo>
                  <a:lnTo>
                    <a:pt x="498572" y="873919"/>
                  </a:lnTo>
                  <a:lnTo>
                    <a:pt x="482694" y="854075"/>
                  </a:lnTo>
                  <a:lnTo>
                    <a:pt x="468403" y="832644"/>
                  </a:lnTo>
                  <a:lnTo>
                    <a:pt x="456495" y="808831"/>
                  </a:lnTo>
                  <a:lnTo>
                    <a:pt x="448556" y="782638"/>
                  </a:lnTo>
                  <a:lnTo>
                    <a:pt x="468403" y="765969"/>
                  </a:lnTo>
                  <a:lnTo>
                    <a:pt x="485075" y="747713"/>
                  </a:lnTo>
                  <a:lnTo>
                    <a:pt x="500953" y="727869"/>
                  </a:lnTo>
                  <a:lnTo>
                    <a:pt x="516038" y="706438"/>
                  </a:lnTo>
                  <a:lnTo>
                    <a:pt x="530328" y="686594"/>
                  </a:lnTo>
                  <a:lnTo>
                    <a:pt x="687521" y="528638"/>
                  </a:lnTo>
                  <a:lnTo>
                    <a:pt x="710544" y="511175"/>
                  </a:lnTo>
                  <a:lnTo>
                    <a:pt x="732773" y="493713"/>
                  </a:lnTo>
                  <a:lnTo>
                    <a:pt x="756590" y="477838"/>
                  </a:lnTo>
                  <a:lnTo>
                    <a:pt x="779614" y="460375"/>
                  </a:lnTo>
                  <a:lnTo>
                    <a:pt x="800255" y="439738"/>
                  </a:lnTo>
                  <a:lnTo>
                    <a:pt x="817721" y="419100"/>
                  </a:lnTo>
                  <a:lnTo>
                    <a:pt x="845508" y="434975"/>
                  </a:lnTo>
                  <a:lnTo>
                    <a:pt x="871706" y="454819"/>
                  </a:lnTo>
                  <a:lnTo>
                    <a:pt x="897905" y="475456"/>
                  </a:lnTo>
                  <a:lnTo>
                    <a:pt x="921722" y="495300"/>
                  </a:lnTo>
                  <a:lnTo>
                    <a:pt x="947921" y="515144"/>
                  </a:lnTo>
                  <a:lnTo>
                    <a:pt x="1016197" y="561181"/>
                  </a:lnTo>
                  <a:lnTo>
                    <a:pt x="1084473" y="604838"/>
                  </a:lnTo>
                  <a:lnTo>
                    <a:pt x="1152748" y="652463"/>
                  </a:lnTo>
                  <a:lnTo>
                    <a:pt x="1170214" y="665956"/>
                  </a:lnTo>
                  <a:lnTo>
                    <a:pt x="1187680" y="681038"/>
                  </a:lnTo>
                  <a:lnTo>
                    <a:pt x="1205146" y="697706"/>
                  </a:lnTo>
                  <a:lnTo>
                    <a:pt x="1222612" y="712788"/>
                  </a:lnTo>
                  <a:lnTo>
                    <a:pt x="1242459" y="725488"/>
                  </a:lnTo>
                  <a:lnTo>
                    <a:pt x="1265483" y="735013"/>
                  </a:lnTo>
                  <a:lnTo>
                    <a:pt x="1290094" y="741363"/>
                  </a:lnTo>
                  <a:lnTo>
                    <a:pt x="1306766" y="725488"/>
                  </a:lnTo>
                  <a:lnTo>
                    <a:pt x="1330583" y="710406"/>
                  </a:lnTo>
                  <a:lnTo>
                    <a:pt x="1359163" y="692944"/>
                  </a:lnTo>
                  <a:lnTo>
                    <a:pt x="1392507" y="676275"/>
                  </a:lnTo>
                  <a:lnTo>
                    <a:pt x="1430615" y="660400"/>
                  </a:lnTo>
                  <a:lnTo>
                    <a:pt x="1469516" y="645319"/>
                  </a:lnTo>
                  <a:lnTo>
                    <a:pt x="1510799" y="630238"/>
                  </a:lnTo>
                  <a:lnTo>
                    <a:pt x="1550494" y="615950"/>
                  </a:lnTo>
                  <a:lnTo>
                    <a:pt x="1589395" y="604044"/>
                  </a:lnTo>
                  <a:lnTo>
                    <a:pt x="1625915" y="592931"/>
                  </a:lnTo>
                  <a:lnTo>
                    <a:pt x="1658465" y="584200"/>
                  </a:lnTo>
                  <a:lnTo>
                    <a:pt x="1685458" y="576263"/>
                  </a:lnTo>
                  <a:lnTo>
                    <a:pt x="1694985" y="504825"/>
                  </a:lnTo>
                  <a:lnTo>
                    <a:pt x="1706893" y="431006"/>
                  </a:lnTo>
                  <a:lnTo>
                    <a:pt x="1721977" y="358775"/>
                  </a:lnTo>
                  <a:lnTo>
                    <a:pt x="1737061" y="287338"/>
                  </a:lnTo>
                  <a:lnTo>
                    <a:pt x="1754527" y="219869"/>
                  </a:lnTo>
                  <a:lnTo>
                    <a:pt x="1760085" y="196056"/>
                  </a:lnTo>
                  <a:lnTo>
                    <a:pt x="1762466" y="171450"/>
                  </a:lnTo>
                  <a:lnTo>
                    <a:pt x="1763260" y="145256"/>
                  </a:lnTo>
                  <a:lnTo>
                    <a:pt x="1765642" y="119063"/>
                  </a:lnTo>
                  <a:lnTo>
                    <a:pt x="1768818" y="92869"/>
                  </a:lnTo>
                  <a:lnTo>
                    <a:pt x="1771993" y="69056"/>
                  </a:lnTo>
                  <a:lnTo>
                    <a:pt x="1778344" y="46038"/>
                  </a:lnTo>
                  <a:lnTo>
                    <a:pt x="1788665" y="27781"/>
                  </a:lnTo>
                  <a:lnTo>
                    <a:pt x="1799780" y="22225"/>
                  </a:lnTo>
                  <a:lnTo>
                    <a:pt x="1813276" y="19844"/>
                  </a:lnTo>
                  <a:lnTo>
                    <a:pt x="1828360" y="19844"/>
                  </a:lnTo>
                  <a:lnTo>
                    <a:pt x="1845826" y="19844"/>
                  </a:lnTo>
                  <a:lnTo>
                    <a:pt x="1862498" y="19844"/>
                  </a:lnTo>
                  <a:lnTo>
                    <a:pt x="1877582" y="21431"/>
                  </a:lnTo>
                  <a:lnTo>
                    <a:pt x="1895842" y="11113"/>
                  </a:lnTo>
                  <a:lnTo>
                    <a:pt x="1921247" y="4763"/>
                  </a:lnTo>
                  <a:lnTo>
                    <a:pt x="1951415" y="1588"/>
                  </a:lnTo>
                  <a:close/>
                </a:path>
              </a:pathLst>
            </a:custGeom>
            <a:solidFill>
              <a:srgbClr val="74B230"/>
            </a:solidFill>
            <a:ln w="0">
              <a:solidFill>
                <a:srgbClr val="F0FF62"/>
              </a:solid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87" name="Freeform 12"/>
            <p:cNvSpPr>
              <a:spLocks noChangeAspect="1" noEditPoints="1"/>
            </p:cNvSpPr>
            <p:nvPr/>
          </p:nvSpPr>
          <p:spPr bwMode="auto">
            <a:xfrm>
              <a:off x="155684" y="5411251"/>
              <a:ext cx="776003" cy="776003"/>
            </a:xfrm>
            <a:custGeom>
              <a:avLst/>
              <a:gdLst>
                <a:gd name="T0" fmla="*/ 2028 w 6434"/>
                <a:gd name="T1" fmla="*/ 4305 h 6434"/>
                <a:gd name="T2" fmla="*/ 2336 w 6434"/>
                <a:gd name="T3" fmla="*/ 4570 h 6434"/>
                <a:gd name="T4" fmla="*/ 2544 w 6434"/>
                <a:gd name="T5" fmla="*/ 4217 h 6434"/>
                <a:gd name="T6" fmla="*/ 3515 w 6434"/>
                <a:gd name="T7" fmla="*/ 3833 h 6434"/>
                <a:gd name="T8" fmla="*/ 2962 w 6434"/>
                <a:gd name="T9" fmla="*/ 4389 h 6434"/>
                <a:gd name="T10" fmla="*/ 3229 w 6434"/>
                <a:gd name="T11" fmla="*/ 5134 h 6434"/>
                <a:gd name="T12" fmla="*/ 4011 w 6434"/>
                <a:gd name="T13" fmla="*/ 5213 h 6434"/>
                <a:gd name="T14" fmla="*/ 4420 w 6434"/>
                <a:gd name="T15" fmla="*/ 4553 h 6434"/>
                <a:gd name="T16" fmla="*/ 3997 w 6434"/>
                <a:gd name="T17" fmla="*/ 3884 h 6434"/>
                <a:gd name="T18" fmla="*/ 4393 w 6434"/>
                <a:gd name="T19" fmla="*/ 3313 h 6434"/>
                <a:gd name="T20" fmla="*/ 4463 w 6434"/>
                <a:gd name="T21" fmla="*/ 3714 h 6434"/>
                <a:gd name="T22" fmla="*/ 4847 w 6434"/>
                <a:gd name="T23" fmla="*/ 3576 h 6434"/>
                <a:gd name="T24" fmla="*/ 4646 w 6434"/>
                <a:gd name="T25" fmla="*/ 3223 h 6434"/>
                <a:gd name="T26" fmla="*/ 2948 w 6434"/>
                <a:gd name="T27" fmla="*/ 3182 h 6434"/>
                <a:gd name="T28" fmla="*/ 3207 w 6434"/>
                <a:gd name="T29" fmla="*/ 3498 h 6434"/>
                <a:gd name="T30" fmla="*/ 3472 w 6434"/>
                <a:gd name="T31" fmla="*/ 3188 h 6434"/>
                <a:gd name="T32" fmla="*/ 1696 w 6434"/>
                <a:gd name="T33" fmla="*/ 2225 h 6434"/>
                <a:gd name="T34" fmla="*/ 1082 w 6434"/>
                <a:gd name="T35" fmla="*/ 2718 h 6434"/>
                <a:gd name="T36" fmla="*/ 1265 w 6434"/>
                <a:gd name="T37" fmla="*/ 3488 h 6434"/>
                <a:gd name="T38" fmla="*/ 2028 w 6434"/>
                <a:gd name="T39" fmla="*/ 3654 h 6434"/>
                <a:gd name="T40" fmla="*/ 2513 w 6434"/>
                <a:gd name="T41" fmla="*/ 3042 h 6434"/>
                <a:gd name="T42" fmla="*/ 2166 w 6434"/>
                <a:gd name="T43" fmla="*/ 2330 h 6434"/>
                <a:gd name="T44" fmla="*/ 2562 w 6434"/>
                <a:gd name="T45" fmla="*/ 1696 h 6434"/>
                <a:gd name="T46" fmla="*/ 2562 w 6434"/>
                <a:gd name="T47" fmla="*/ 2104 h 6434"/>
                <a:gd name="T48" fmla="*/ 2964 w 6434"/>
                <a:gd name="T49" fmla="*/ 2034 h 6434"/>
                <a:gd name="T50" fmla="*/ 2827 w 6434"/>
                <a:gd name="T51" fmla="*/ 1651 h 6434"/>
                <a:gd name="T52" fmla="*/ 3613 w 6434"/>
                <a:gd name="T53" fmla="*/ 1599 h 6434"/>
                <a:gd name="T54" fmla="*/ 3447 w 6434"/>
                <a:gd name="T55" fmla="*/ 2363 h 6434"/>
                <a:gd name="T56" fmla="*/ 4059 w 6434"/>
                <a:gd name="T57" fmla="*/ 2847 h 6434"/>
                <a:gd name="T58" fmla="*/ 4771 w 6434"/>
                <a:gd name="T59" fmla="*/ 2500 h 6434"/>
                <a:gd name="T60" fmla="*/ 4761 w 6434"/>
                <a:gd name="T61" fmla="*/ 1712 h 6434"/>
                <a:gd name="T62" fmla="*/ 3012 w 6434"/>
                <a:gd name="T63" fmla="*/ 0 h 6434"/>
                <a:gd name="T64" fmla="*/ 3521 w 6434"/>
                <a:gd name="T65" fmla="*/ 195 h 6434"/>
                <a:gd name="T66" fmla="*/ 4030 w 6434"/>
                <a:gd name="T67" fmla="*/ 651 h 6434"/>
                <a:gd name="T68" fmla="*/ 4942 w 6434"/>
                <a:gd name="T69" fmla="*/ 493 h 6434"/>
                <a:gd name="T70" fmla="*/ 5239 w 6434"/>
                <a:gd name="T71" fmla="*/ 951 h 6434"/>
                <a:gd name="T72" fmla="*/ 5381 w 6434"/>
                <a:gd name="T73" fmla="*/ 1618 h 6434"/>
                <a:gd name="T74" fmla="*/ 6214 w 6434"/>
                <a:gd name="T75" fmla="*/ 2028 h 6434"/>
                <a:gd name="T76" fmla="*/ 6186 w 6434"/>
                <a:gd name="T77" fmla="*/ 2574 h 6434"/>
                <a:gd name="T78" fmla="*/ 5908 w 6434"/>
                <a:gd name="T79" fmla="*/ 3198 h 6434"/>
                <a:gd name="T80" fmla="*/ 6340 w 6434"/>
                <a:gd name="T81" fmla="*/ 4016 h 6434"/>
                <a:gd name="T82" fmla="*/ 5997 w 6434"/>
                <a:gd name="T83" fmla="*/ 4441 h 6434"/>
                <a:gd name="T84" fmla="*/ 5407 w 6434"/>
                <a:gd name="T85" fmla="*/ 4783 h 6434"/>
                <a:gd name="T86" fmla="*/ 5274 w 6434"/>
                <a:gd name="T87" fmla="*/ 5699 h 6434"/>
                <a:gd name="T88" fmla="*/ 4748 w 6434"/>
                <a:gd name="T89" fmla="*/ 5841 h 6434"/>
                <a:gd name="T90" fmla="*/ 4067 w 6434"/>
                <a:gd name="T91" fmla="*/ 5771 h 6434"/>
                <a:gd name="T92" fmla="*/ 3422 w 6434"/>
                <a:gd name="T93" fmla="*/ 6434 h 6434"/>
                <a:gd name="T94" fmla="*/ 2913 w 6434"/>
                <a:gd name="T95" fmla="*/ 6239 h 6434"/>
                <a:gd name="T96" fmla="*/ 2404 w 6434"/>
                <a:gd name="T97" fmla="*/ 5783 h 6434"/>
                <a:gd name="T98" fmla="*/ 1492 w 6434"/>
                <a:gd name="T99" fmla="*/ 5941 h 6434"/>
                <a:gd name="T100" fmla="*/ 1195 w 6434"/>
                <a:gd name="T101" fmla="*/ 5483 h 6434"/>
                <a:gd name="T102" fmla="*/ 1053 w 6434"/>
                <a:gd name="T103" fmla="*/ 4816 h 6434"/>
                <a:gd name="T104" fmla="*/ 220 w 6434"/>
                <a:gd name="T105" fmla="*/ 4406 h 6434"/>
                <a:gd name="T106" fmla="*/ 248 w 6434"/>
                <a:gd name="T107" fmla="*/ 3860 h 6434"/>
                <a:gd name="T108" fmla="*/ 526 w 6434"/>
                <a:gd name="T109" fmla="*/ 3237 h 6434"/>
                <a:gd name="T110" fmla="*/ 94 w 6434"/>
                <a:gd name="T111" fmla="*/ 2418 h 6434"/>
                <a:gd name="T112" fmla="*/ 437 w 6434"/>
                <a:gd name="T113" fmla="*/ 1993 h 6434"/>
                <a:gd name="T114" fmla="*/ 1028 w 6434"/>
                <a:gd name="T115" fmla="*/ 1651 h 6434"/>
                <a:gd name="T116" fmla="*/ 1160 w 6434"/>
                <a:gd name="T117" fmla="*/ 735 h 6434"/>
                <a:gd name="T118" fmla="*/ 1687 w 6434"/>
                <a:gd name="T119" fmla="*/ 593 h 6434"/>
                <a:gd name="T120" fmla="*/ 2365 w 6434"/>
                <a:gd name="T121" fmla="*/ 663 h 6434"/>
                <a:gd name="T122" fmla="*/ 3012 w 6434"/>
                <a:gd name="T123" fmla="*/ 0 h 6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34" h="6434">
                  <a:moveTo>
                    <a:pt x="2297" y="4042"/>
                  </a:moveTo>
                  <a:lnTo>
                    <a:pt x="2250" y="4046"/>
                  </a:lnTo>
                  <a:lnTo>
                    <a:pt x="2203" y="4057"/>
                  </a:lnTo>
                  <a:lnTo>
                    <a:pt x="2160" y="4077"/>
                  </a:lnTo>
                  <a:lnTo>
                    <a:pt x="2121" y="4104"/>
                  </a:lnTo>
                  <a:lnTo>
                    <a:pt x="2090" y="4137"/>
                  </a:lnTo>
                  <a:lnTo>
                    <a:pt x="2063" y="4174"/>
                  </a:lnTo>
                  <a:lnTo>
                    <a:pt x="2043" y="4215"/>
                  </a:lnTo>
                  <a:lnTo>
                    <a:pt x="2032" y="4258"/>
                  </a:lnTo>
                  <a:lnTo>
                    <a:pt x="2028" y="4305"/>
                  </a:lnTo>
                  <a:lnTo>
                    <a:pt x="2032" y="4352"/>
                  </a:lnTo>
                  <a:lnTo>
                    <a:pt x="2043" y="4397"/>
                  </a:lnTo>
                  <a:lnTo>
                    <a:pt x="2063" y="4441"/>
                  </a:lnTo>
                  <a:lnTo>
                    <a:pt x="2090" y="4478"/>
                  </a:lnTo>
                  <a:lnTo>
                    <a:pt x="2123" y="4512"/>
                  </a:lnTo>
                  <a:lnTo>
                    <a:pt x="2160" y="4537"/>
                  </a:lnTo>
                  <a:lnTo>
                    <a:pt x="2201" y="4556"/>
                  </a:lnTo>
                  <a:lnTo>
                    <a:pt x="2244" y="4570"/>
                  </a:lnTo>
                  <a:lnTo>
                    <a:pt x="2291" y="4574"/>
                  </a:lnTo>
                  <a:lnTo>
                    <a:pt x="2336" y="4570"/>
                  </a:lnTo>
                  <a:lnTo>
                    <a:pt x="2383" y="4558"/>
                  </a:lnTo>
                  <a:lnTo>
                    <a:pt x="2427" y="4539"/>
                  </a:lnTo>
                  <a:lnTo>
                    <a:pt x="2464" y="4512"/>
                  </a:lnTo>
                  <a:lnTo>
                    <a:pt x="2498" y="4478"/>
                  </a:lnTo>
                  <a:lnTo>
                    <a:pt x="2523" y="4441"/>
                  </a:lnTo>
                  <a:lnTo>
                    <a:pt x="2542" y="4400"/>
                  </a:lnTo>
                  <a:lnTo>
                    <a:pt x="2556" y="4358"/>
                  </a:lnTo>
                  <a:lnTo>
                    <a:pt x="2560" y="4311"/>
                  </a:lnTo>
                  <a:lnTo>
                    <a:pt x="2556" y="4264"/>
                  </a:lnTo>
                  <a:lnTo>
                    <a:pt x="2544" y="4217"/>
                  </a:lnTo>
                  <a:lnTo>
                    <a:pt x="2525" y="4174"/>
                  </a:lnTo>
                  <a:lnTo>
                    <a:pt x="2498" y="4137"/>
                  </a:lnTo>
                  <a:lnTo>
                    <a:pt x="2464" y="4104"/>
                  </a:lnTo>
                  <a:lnTo>
                    <a:pt x="2427" y="4077"/>
                  </a:lnTo>
                  <a:lnTo>
                    <a:pt x="2386" y="4059"/>
                  </a:lnTo>
                  <a:lnTo>
                    <a:pt x="2342" y="4046"/>
                  </a:lnTo>
                  <a:lnTo>
                    <a:pt x="2297" y="4042"/>
                  </a:lnTo>
                  <a:close/>
                  <a:moveTo>
                    <a:pt x="3683" y="3814"/>
                  </a:moveTo>
                  <a:lnTo>
                    <a:pt x="3599" y="3818"/>
                  </a:lnTo>
                  <a:lnTo>
                    <a:pt x="3515" y="3833"/>
                  </a:lnTo>
                  <a:lnTo>
                    <a:pt x="3433" y="3857"/>
                  </a:lnTo>
                  <a:lnTo>
                    <a:pt x="3354" y="3890"/>
                  </a:lnTo>
                  <a:lnTo>
                    <a:pt x="3281" y="3933"/>
                  </a:lnTo>
                  <a:lnTo>
                    <a:pt x="3213" y="3981"/>
                  </a:lnTo>
                  <a:lnTo>
                    <a:pt x="3153" y="4036"/>
                  </a:lnTo>
                  <a:lnTo>
                    <a:pt x="3100" y="4098"/>
                  </a:lnTo>
                  <a:lnTo>
                    <a:pt x="3053" y="4165"/>
                  </a:lnTo>
                  <a:lnTo>
                    <a:pt x="3014" y="4237"/>
                  </a:lnTo>
                  <a:lnTo>
                    <a:pt x="2985" y="4311"/>
                  </a:lnTo>
                  <a:lnTo>
                    <a:pt x="2962" y="4389"/>
                  </a:lnTo>
                  <a:lnTo>
                    <a:pt x="2948" y="4469"/>
                  </a:lnTo>
                  <a:lnTo>
                    <a:pt x="2944" y="4551"/>
                  </a:lnTo>
                  <a:lnTo>
                    <a:pt x="2948" y="4634"/>
                  </a:lnTo>
                  <a:lnTo>
                    <a:pt x="2964" y="4718"/>
                  </a:lnTo>
                  <a:lnTo>
                    <a:pt x="2987" y="4800"/>
                  </a:lnTo>
                  <a:lnTo>
                    <a:pt x="3020" y="4880"/>
                  </a:lnTo>
                  <a:lnTo>
                    <a:pt x="3063" y="4952"/>
                  </a:lnTo>
                  <a:lnTo>
                    <a:pt x="3112" y="5020"/>
                  </a:lnTo>
                  <a:lnTo>
                    <a:pt x="3166" y="5081"/>
                  </a:lnTo>
                  <a:lnTo>
                    <a:pt x="3229" y="5134"/>
                  </a:lnTo>
                  <a:lnTo>
                    <a:pt x="3295" y="5180"/>
                  </a:lnTo>
                  <a:lnTo>
                    <a:pt x="3367" y="5219"/>
                  </a:lnTo>
                  <a:lnTo>
                    <a:pt x="3441" y="5251"/>
                  </a:lnTo>
                  <a:lnTo>
                    <a:pt x="3519" y="5272"/>
                  </a:lnTo>
                  <a:lnTo>
                    <a:pt x="3599" y="5286"/>
                  </a:lnTo>
                  <a:lnTo>
                    <a:pt x="3681" y="5290"/>
                  </a:lnTo>
                  <a:lnTo>
                    <a:pt x="3765" y="5286"/>
                  </a:lnTo>
                  <a:lnTo>
                    <a:pt x="3849" y="5272"/>
                  </a:lnTo>
                  <a:lnTo>
                    <a:pt x="3931" y="5247"/>
                  </a:lnTo>
                  <a:lnTo>
                    <a:pt x="4011" y="5213"/>
                  </a:lnTo>
                  <a:lnTo>
                    <a:pt x="4083" y="5171"/>
                  </a:lnTo>
                  <a:lnTo>
                    <a:pt x="4151" y="5122"/>
                  </a:lnTo>
                  <a:lnTo>
                    <a:pt x="4211" y="5067"/>
                  </a:lnTo>
                  <a:lnTo>
                    <a:pt x="4264" y="5005"/>
                  </a:lnTo>
                  <a:lnTo>
                    <a:pt x="4311" y="4939"/>
                  </a:lnTo>
                  <a:lnTo>
                    <a:pt x="4350" y="4866"/>
                  </a:lnTo>
                  <a:lnTo>
                    <a:pt x="4379" y="4792"/>
                  </a:lnTo>
                  <a:lnTo>
                    <a:pt x="4402" y="4714"/>
                  </a:lnTo>
                  <a:lnTo>
                    <a:pt x="4416" y="4634"/>
                  </a:lnTo>
                  <a:lnTo>
                    <a:pt x="4420" y="4553"/>
                  </a:lnTo>
                  <a:lnTo>
                    <a:pt x="4416" y="4469"/>
                  </a:lnTo>
                  <a:lnTo>
                    <a:pt x="4400" y="4385"/>
                  </a:lnTo>
                  <a:lnTo>
                    <a:pt x="4377" y="4303"/>
                  </a:lnTo>
                  <a:lnTo>
                    <a:pt x="4344" y="4223"/>
                  </a:lnTo>
                  <a:lnTo>
                    <a:pt x="4301" y="4151"/>
                  </a:lnTo>
                  <a:lnTo>
                    <a:pt x="4252" y="4083"/>
                  </a:lnTo>
                  <a:lnTo>
                    <a:pt x="4198" y="4022"/>
                  </a:lnTo>
                  <a:lnTo>
                    <a:pt x="4135" y="3970"/>
                  </a:lnTo>
                  <a:lnTo>
                    <a:pt x="4069" y="3923"/>
                  </a:lnTo>
                  <a:lnTo>
                    <a:pt x="3997" y="3884"/>
                  </a:lnTo>
                  <a:lnTo>
                    <a:pt x="3923" y="3855"/>
                  </a:lnTo>
                  <a:lnTo>
                    <a:pt x="3845" y="3831"/>
                  </a:lnTo>
                  <a:lnTo>
                    <a:pt x="3765" y="3818"/>
                  </a:lnTo>
                  <a:lnTo>
                    <a:pt x="3683" y="3814"/>
                  </a:lnTo>
                  <a:close/>
                  <a:moveTo>
                    <a:pt x="4601" y="3217"/>
                  </a:moveTo>
                  <a:lnTo>
                    <a:pt x="4555" y="3221"/>
                  </a:lnTo>
                  <a:lnTo>
                    <a:pt x="4508" y="3233"/>
                  </a:lnTo>
                  <a:lnTo>
                    <a:pt x="4465" y="3254"/>
                  </a:lnTo>
                  <a:lnTo>
                    <a:pt x="4426" y="3279"/>
                  </a:lnTo>
                  <a:lnTo>
                    <a:pt x="4393" y="3313"/>
                  </a:lnTo>
                  <a:lnTo>
                    <a:pt x="4367" y="3350"/>
                  </a:lnTo>
                  <a:lnTo>
                    <a:pt x="4348" y="3391"/>
                  </a:lnTo>
                  <a:lnTo>
                    <a:pt x="4336" y="3435"/>
                  </a:lnTo>
                  <a:lnTo>
                    <a:pt x="4330" y="3480"/>
                  </a:lnTo>
                  <a:lnTo>
                    <a:pt x="4334" y="3527"/>
                  </a:lnTo>
                  <a:lnTo>
                    <a:pt x="4346" y="3574"/>
                  </a:lnTo>
                  <a:lnTo>
                    <a:pt x="4367" y="3617"/>
                  </a:lnTo>
                  <a:lnTo>
                    <a:pt x="4395" y="3656"/>
                  </a:lnTo>
                  <a:lnTo>
                    <a:pt x="4426" y="3687"/>
                  </a:lnTo>
                  <a:lnTo>
                    <a:pt x="4463" y="3714"/>
                  </a:lnTo>
                  <a:lnTo>
                    <a:pt x="4504" y="3734"/>
                  </a:lnTo>
                  <a:lnTo>
                    <a:pt x="4549" y="3745"/>
                  </a:lnTo>
                  <a:lnTo>
                    <a:pt x="4594" y="3749"/>
                  </a:lnTo>
                  <a:lnTo>
                    <a:pt x="4640" y="3745"/>
                  </a:lnTo>
                  <a:lnTo>
                    <a:pt x="4687" y="3734"/>
                  </a:lnTo>
                  <a:lnTo>
                    <a:pt x="4730" y="3714"/>
                  </a:lnTo>
                  <a:lnTo>
                    <a:pt x="4769" y="3687"/>
                  </a:lnTo>
                  <a:lnTo>
                    <a:pt x="4802" y="3654"/>
                  </a:lnTo>
                  <a:lnTo>
                    <a:pt x="4827" y="3617"/>
                  </a:lnTo>
                  <a:lnTo>
                    <a:pt x="4847" y="3576"/>
                  </a:lnTo>
                  <a:lnTo>
                    <a:pt x="4859" y="3533"/>
                  </a:lnTo>
                  <a:lnTo>
                    <a:pt x="4863" y="3486"/>
                  </a:lnTo>
                  <a:lnTo>
                    <a:pt x="4861" y="3441"/>
                  </a:lnTo>
                  <a:lnTo>
                    <a:pt x="4847" y="3394"/>
                  </a:lnTo>
                  <a:lnTo>
                    <a:pt x="4827" y="3350"/>
                  </a:lnTo>
                  <a:lnTo>
                    <a:pt x="4800" y="3313"/>
                  </a:lnTo>
                  <a:lnTo>
                    <a:pt x="4769" y="3279"/>
                  </a:lnTo>
                  <a:lnTo>
                    <a:pt x="4732" y="3254"/>
                  </a:lnTo>
                  <a:lnTo>
                    <a:pt x="4691" y="3235"/>
                  </a:lnTo>
                  <a:lnTo>
                    <a:pt x="4646" y="3223"/>
                  </a:lnTo>
                  <a:lnTo>
                    <a:pt x="4601" y="3217"/>
                  </a:lnTo>
                  <a:close/>
                  <a:moveTo>
                    <a:pt x="3213" y="2966"/>
                  </a:moveTo>
                  <a:lnTo>
                    <a:pt x="3166" y="2969"/>
                  </a:lnTo>
                  <a:lnTo>
                    <a:pt x="3120" y="2981"/>
                  </a:lnTo>
                  <a:lnTo>
                    <a:pt x="3077" y="3001"/>
                  </a:lnTo>
                  <a:lnTo>
                    <a:pt x="3038" y="3028"/>
                  </a:lnTo>
                  <a:lnTo>
                    <a:pt x="3006" y="3061"/>
                  </a:lnTo>
                  <a:lnTo>
                    <a:pt x="2979" y="3098"/>
                  </a:lnTo>
                  <a:lnTo>
                    <a:pt x="2960" y="3139"/>
                  </a:lnTo>
                  <a:lnTo>
                    <a:pt x="2948" y="3182"/>
                  </a:lnTo>
                  <a:lnTo>
                    <a:pt x="2944" y="3229"/>
                  </a:lnTo>
                  <a:lnTo>
                    <a:pt x="2948" y="3274"/>
                  </a:lnTo>
                  <a:lnTo>
                    <a:pt x="2960" y="3320"/>
                  </a:lnTo>
                  <a:lnTo>
                    <a:pt x="2979" y="3365"/>
                  </a:lnTo>
                  <a:lnTo>
                    <a:pt x="3006" y="3402"/>
                  </a:lnTo>
                  <a:lnTo>
                    <a:pt x="3038" y="3435"/>
                  </a:lnTo>
                  <a:lnTo>
                    <a:pt x="3077" y="3461"/>
                  </a:lnTo>
                  <a:lnTo>
                    <a:pt x="3118" y="3480"/>
                  </a:lnTo>
                  <a:lnTo>
                    <a:pt x="3160" y="3494"/>
                  </a:lnTo>
                  <a:lnTo>
                    <a:pt x="3207" y="3498"/>
                  </a:lnTo>
                  <a:lnTo>
                    <a:pt x="3252" y="3494"/>
                  </a:lnTo>
                  <a:lnTo>
                    <a:pt x="3299" y="3482"/>
                  </a:lnTo>
                  <a:lnTo>
                    <a:pt x="3344" y="3463"/>
                  </a:lnTo>
                  <a:lnTo>
                    <a:pt x="3381" y="3435"/>
                  </a:lnTo>
                  <a:lnTo>
                    <a:pt x="3414" y="3402"/>
                  </a:lnTo>
                  <a:lnTo>
                    <a:pt x="3439" y="3365"/>
                  </a:lnTo>
                  <a:lnTo>
                    <a:pt x="3459" y="3324"/>
                  </a:lnTo>
                  <a:lnTo>
                    <a:pt x="3470" y="3281"/>
                  </a:lnTo>
                  <a:lnTo>
                    <a:pt x="3476" y="3235"/>
                  </a:lnTo>
                  <a:lnTo>
                    <a:pt x="3472" y="3188"/>
                  </a:lnTo>
                  <a:lnTo>
                    <a:pt x="3461" y="3141"/>
                  </a:lnTo>
                  <a:lnTo>
                    <a:pt x="3439" y="3098"/>
                  </a:lnTo>
                  <a:lnTo>
                    <a:pt x="3414" y="3059"/>
                  </a:lnTo>
                  <a:lnTo>
                    <a:pt x="3381" y="3028"/>
                  </a:lnTo>
                  <a:lnTo>
                    <a:pt x="3344" y="3001"/>
                  </a:lnTo>
                  <a:lnTo>
                    <a:pt x="3303" y="2981"/>
                  </a:lnTo>
                  <a:lnTo>
                    <a:pt x="3258" y="2969"/>
                  </a:lnTo>
                  <a:lnTo>
                    <a:pt x="3213" y="2966"/>
                  </a:lnTo>
                  <a:close/>
                  <a:moveTo>
                    <a:pt x="1780" y="2221"/>
                  </a:moveTo>
                  <a:lnTo>
                    <a:pt x="1696" y="2225"/>
                  </a:lnTo>
                  <a:lnTo>
                    <a:pt x="1614" y="2240"/>
                  </a:lnTo>
                  <a:lnTo>
                    <a:pt x="1531" y="2264"/>
                  </a:lnTo>
                  <a:lnTo>
                    <a:pt x="1453" y="2299"/>
                  </a:lnTo>
                  <a:lnTo>
                    <a:pt x="1378" y="2340"/>
                  </a:lnTo>
                  <a:lnTo>
                    <a:pt x="1310" y="2388"/>
                  </a:lnTo>
                  <a:lnTo>
                    <a:pt x="1250" y="2445"/>
                  </a:lnTo>
                  <a:lnTo>
                    <a:pt x="1197" y="2505"/>
                  </a:lnTo>
                  <a:lnTo>
                    <a:pt x="1150" y="2572"/>
                  </a:lnTo>
                  <a:lnTo>
                    <a:pt x="1113" y="2644"/>
                  </a:lnTo>
                  <a:lnTo>
                    <a:pt x="1082" y="2718"/>
                  </a:lnTo>
                  <a:lnTo>
                    <a:pt x="1059" y="2796"/>
                  </a:lnTo>
                  <a:lnTo>
                    <a:pt x="1045" y="2878"/>
                  </a:lnTo>
                  <a:lnTo>
                    <a:pt x="1041" y="2960"/>
                  </a:lnTo>
                  <a:lnTo>
                    <a:pt x="1045" y="3042"/>
                  </a:lnTo>
                  <a:lnTo>
                    <a:pt x="1061" y="3125"/>
                  </a:lnTo>
                  <a:lnTo>
                    <a:pt x="1084" y="3207"/>
                  </a:lnTo>
                  <a:lnTo>
                    <a:pt x="1119" y="3287"/>
                  </a:lnTo>
                  <a:lnTo>
                    <a:pt x="1160" y="3361"/>
                  </a:lnTo>
                  <a:lnTo>
                    <a:pt x="1209" y="3428"/>
                  </a:lnTo>
                  <a:lnTo>
                    <a:pt x="1265" y="3488"/>
                  </a:lnTo>
                  <a:lnTo>
                    <a:pt x="1326" y="3541"/>
                  </a:lnTo>
                  <a:lnTo>
                    <a:pt x="1392" y="3587"/>
                  </a:lnTo>
                  <a:lnTo>
                    <a:pt x="1464" y="3626"/>
                  </a:lnTo>
                  <a:lnTo>
                    <a:pt x="1538" y="3658"/>
                  </a:lnTo>
                  <a:lnTo>
                    <a:pt x="1616" y="3679"/>
                  </a:lnTo>
                  <a:lnTo>
                    <a:pt x="1698" y="3693"/>
                  </a:lnTo>
                  <a:lnTo>
                    <a:pt x="1780" y="3697"/>
                  </a:lnTo>
                  <a:lnTo>
                    <a:pt x="1862" y="3693"/>
                  </a:lnTo>
                  <a:lnTo>
                    <a:pt x="1946" y="3679"/>
                  </a:lnTo>
                  <a:lnTo>
                    <a:pt x="2028" y="3654"/>
                  </a:lnTo>
                  <a:lnTo>
                    <a:pt x="2108" y="3621"/>
                  </a:lnTo>
                  <a:lnTo>
                    <a:pt x="2182" y="3578"/>
                  </a:lnTo>
                  <a:lnTo>
                    <a:pt x="2248" y="3529"/>
                  </a:lnTo>
                  <a:lnTo>
                    <a:pt x="2308" y="3474"/>
                  </a:lnTo>
                  <a:lnTo>
                    <a:pt x="2363" y="3412"/>
                  </a:lnTo>
                  <a:lnTo>
                    <a:pt x="2408" y="3346"/>
                  </a:lnTo>
                  <a:lnTo>
                    <a:pt x="2447" y="3276"/>
                  </a:lnTo>
                  <a:lnTo>
                    <a:pt x="2478" y="3199"/>
                  </a:lnTo>
                  <a:lnTo>
                    <a:pt x="2500" y="3121"/>
                  </a:lnTo>
                  <a:lnTo>
                    <a:pt x="2513" y="3042"/>
                  </a:lnTo>
                  <a:lnTo>
                    <a:pt x="2517" y="2960"/>
                  </a:lnTo>
                  <a:lnTo>
                    <a:pt x="2513" y="2876"/>
                  </a:lnTo>
                  <a:lnTo>
                    <a:pt x="2500" y="2794"/>
                  </a:lnTo>
                  <a:lnTo>
                    <a:pt x="2474" y="2710"/>
                  </a:lnTo>
                  <a:lnTo>
                    <a:pt x="2441" y="2630"/>
                  </a:lnTo>
                  <a:lnTo>
                    <a:pt x="2400" y="2558"/>
                  </a:lnTo>
                  <a:lnTo>
                    <a:pt x="2349" y="2490"/>
                  </a:lnTo>
                  <a:lnTo>
                    <a:pt x="2295" y="2429"/>
                  </a:lnTo>
                  <a:lnTo>
                    <a:pt x="2232" y="2377"/>
                  </a:lnTo>
                  <a:lnTo>
                    <a:pt x="2166" y="2330"/>
                  </a:lnTo>
                  <a:lnTo>
                    <a:pt x="2096" y="2291"/>
                  </a:lnTo>
                  <a:lnTo>
                    <a:pt x="2020" y="2262"/>
                  </a:lnTo>
                  <a:lnTo>
                    <a:pt x="1942" y="2238"/>
                  </a:lnTo>
                  <a:lnTo>
                    <a:pt x="1862" y="2225"/>
                  </a:lnTo>
                  <a:lnTo>
                    <a:pt x="1780" y="2221"/>
                  </a:lnTo>
                  <a:close/>
                  <a:moveTo>
                    <a:pt x="2737" y="1634"/>
                  </a:moveTo>
                  <a:lnTo>
                    <a:pt x="2691" y="1638"/>
                  </a:lnTo>
                  <a:lnTo>
                    <a:pt x="2644" y="1649"/>
                  </a:lnTo>
                  <a:lnTo>
                    <a:pt x="2601" y="1671"/>
                  </a:lnTo>
                  <a:lnTo>
                    <a:pt x="2562" y="1696"/>
                  </a:lnTo>
                  <a:lnTo>
                    <a:pt x="2529" y="1729"/>
                  </a:lnTo>
                  <a:lnTo>
                    <a:pt x="2503" y="1766"/>
                  </a:lnTo>
                  <a:lnTo>
                    <a:pt x="2484" y="1807"/>
                  </a:lnTo>
                  <a:lnTo>
                    <a:pt x="2472" y="1852"/>
                  </a:lnTo>
                  <a:lnTo>
                    <a:pt x="2466" y="1897"/>
                  </a:lnTo>
                  <a:lnTo>
                    <a:pt x="2470" y="1944"/>
                  </a:lnTo>
                  <a:lnTo>
                    <a:pt x="2484" y="1991"/>
                  </a:lnTo>
                  <a:lnTo>
                    <a:pt x="2503" y="2034"/>
                  </a:lnTo>
                  <a:lnTo>
                    <a:pt x="2531" y="2073"/>
                  </a:lnTo>
                  <a:lnTo>
                    <a:pt x="2562" y="2104"/>
                  </a:lnTo>
                  <a:lnTo>
                    <a:pt x="2599" y="2131"/>
                  </a:lnTo>
                  <a:lnTo>
                    <a:pt x="2640" y="2151"/>
                  </a:lnTo>
                  <a:lnTo>
                    <a:pt x="2685" y="2162"/>
                  </a:lnTo>
                  <a:lnTo>
                    <a:pt x="2730" y="2166"/>
                  </a:lnTo>
                  <a:lnTo>
                    <a:pt x="2776" y="2162"/>
                  </a:lnTo>
                  <a:lnTo>
                    <a:pt x="2823" y="2151"/>
                  </a:lnTo>
                  <a:lnTo>
                    <a:pt x="2866" y="2131"/>
                  </a:lnTo>
                  <a:lnTo>
                    <a:pt x="2905" y="2104"/>
                  </a:lnTo>
                  <a:lnTo>
                    <a:pt x="2938" y="2073"/>
                  </a:lnTo>
                  <a:lnTo>
                    <a:pt x="2964" y="2034"/>
                  </a:lnTo>
                  <a:lnTo>
                    <a:pt x="2983" y="1993"/>
                  </a:lnTo>
                  <a:lnTo>
                    <a:pt x="2995" y="1950"/>
                  </a:lnTo>
                  <a:lnTo>
                    <a:pt x="3001" y="1903"/>
                  </a:lnTo>
                  <a:lnTo>
                    <a:pt x="2997" y="1858"/>
                  </a:lnTo>
                  <a:lnTo>
                    <a:pt x="2985" y="1811"/>
                  </a:lnTo>
                  <a:lnTo>
                    <a:pt x="2964" y="1766"/>
                  </a:lnTo>
                  <a:lnTo>
                    <a:pt x="2936" y="1729"/>
                  </a:lnTo>
                  <a:lnTo>
                    <a:pt x="2905" y="1696"/>
                  </a:lnTo>
                  <a:lnTo>
                    <a:pt x="2868" y="1671"/>
                  </a:lnTo>
                  <a:lnTo>
                    <a:pt x="2827" y="1651"/>
                  </a:lnTo>
                  <a:lnTo>
                    <a:pt x="2782" y="1640"/>
                  </a:lnTo>
                  <a:lnTo>
                    <a:pt x="2737" y="1634"/>
                  </a:lnTo>
                  <a:close/>
                  <a:moveTo>
                    <a:pt x="4143" y="1375"/>
                  </a:moveTo>
                  <a:lnTo>
                    <a:pt x="4059" y="1380"/>
                  </a:lnTo>
                  <a:lnTo>
                    <a:pt x="3977" y="1394"/>
                  </a:lnTo>
                  <a:lnTo>
                    <a:pt x="3894" y="1419"/>
                  </a:lnTo>
                  <a:lnTo>
                    <a:pt x="3814" y="1453"/>
                  </a:lnTo>
                  <a:lnTo>
                    <a:pt x="3741" y="1494"/>
                  </a:lnTo>
                  <a:lnTo>
                    <a:pt x="3673" y="1542"/>
                  </a:lnTo>
                  <a:lnTo>
                    <a:pt x="3613" y="1599"/>
                  </a:lnTo>
                  <a:lnTo>
                    <a:pt x="3560" y="1661"/>
                  </a:lnTo>
                  <a:lnTo>
                    <a:pt x="3513" y="1727"/>
                  </a:lnTo>
                  <a:lnTo>
                    <a:pt x="3474" y="1798"/>
                  </a:lnTo>
                  <a:lnTo>
                    <a:pt x="3445" y="1874"/>
                  </a:lnTo>
                  <a:lnTo>
                    <a:pt x="3422" y="1952"/>
                  </a:lnTo>
                  <a:lnTo>
                    <a:pt x="3408" y="2032"/>
                  </a:lnTo>
                  <a:lnTo>
                    <a:pt x="3404" y="2114"/>
                  </a:lnTo>
                  <a:lnTo>
                    <a:pt x="3408" y="2197"/>
                  </a:lnTo>
                  <a:lnTo>
                    <a:pt x="3424" y="2279"/>
                  </a:lnTo>
                  <a:lnTo>
                    <a:pt x="3447" y="2363"/>
                  </a:lnTo>
                  <a:lnTo>
                    <a:pt x="3480" y="2441"/>
                  </a:lnTo>
                  <a:lnTo>
                    <a:pt x="3523" y="2515"/>
                  </a:lnTo>
                  <a:lnTo>
                    <a:pt x="3572" y="2581"/>
                  </a:lnTo>
                  <a:lnTo>
                    <a:pt x="3628" y="2642"/>
                  </a:lnTo>
                  <a:lnTo>
                    <a:pt x="3689" y="2696"/>
                  </a:lnTo>
                  <a:lnTo>
                    <a:pt x="3755" y="2743"/>
                  </a:lnTo>
                  <a:lnTo>
                    <a:pt x="3827" y="2780"/>
                  </a:lnTo>
                  <a:lnTo>
                    <a:pt x="3901" y="2811"/>
                  </a:lnTo>
                  <a:lnTo>
                    <a:pt x="3979" y="2833"/>
                  </a:lnTo>
                  <a:lnTo>
                    <a:pt x="4059" y="2847"/>
                  </a:lnTo>
                  <a:lnTo>
                    <a:pt x="4143" y="2852"/>
                  </a:lnTo>
                  <a:lnTo>
                    <a:pt x="4225" y="2847"/>
                  </a:lnTo>
                  <a:lnTo>
                    <a:pt x="4309" y="2833"/>
                  </a:lnTo>
                  <a:lnTo>
                    <a:pt x="4391" y="2810"/>
                  </a:lnTo>
                  <a:lnTo>
                    <a:pt x="4471" y="2774"/>
                  </a:lnTo>
                  <a:lnTo>
                    <a:pt x="4545" y="2734"/>
                  </a:lnTo>
                  <a:lnTo>
                    <a:pt x="4611" y="2685"/>
                  </a:lnTo>
                  <a:lnTo>
                    <a:pt x="4671" y="2628"/>
                  </a:lnTo>
                  <a:lnTo>
                    <a:pt x="4724" y="2568"/>
                  </a:lnTo>
                  <a:lnTo>
                    <a:pt x="4771" y="2500"/>
                  </a:lnTo>
                  <a:lnTo>
                    <a:pt x="4810" y="2429"/>
                  </a:lnTo>
                  <a:lnTo>
                    <a:pt x="4841" y="2355"/>
                  </a:lnTo>
                  <a:lnTo>
                    <a:pt x="4863" y="2277"/>
                  </a:lnTo>
                  <a:lnTo>
                    <a:pt x="4876" y="2195"/>
                  </a:lnTo>
                  <a:lnTo>
                    <a:pt x="4880" y="2114"/>
                  </a:lnTo>
                  <a:lnTo>
                    <a:pt x="4876" y="2032"/>
                  </a:lnTo>
                  <a:lnTo>
                    <a:pt x="4863" y="1948"/>
                  </a:lnTo>
                  <a:lnTo>
                    <a:pt x="4837" y="1866"/>
                  </a:lnTo>
                  <a:lnTo>
                    <a:pt x="4804" y="1786"/>
                  </a:lnTo>
                  <a:lnTo>
                    <a:pt x="4761" y="1712"/>
                  </a:lnTo>
                  <a:lnTo>
                    <a:pt x="4712" y="1646"/>
                  </a:lnTo>
                  <a:lnTo>
                    <a:pt x="4658" y="1585"/>
                  </a:lnTo>
                  <a:lnTo>
                    <a:pt x="4595" y="1531"/>
                  </a:lnTo>
                  <a:lnTo>
                    <a:pt x="4529" y="1486"/>
                  </a:lnTo>
                  <a:lnTo>
                    <a:pt x="4459" y="1447"/>
                  </a:lnTo>
                  <a:lnTo>
                    <a:pt x="4383" y="1416"/>
                  </a:lnTo>
                  <a:lnTo>
                    <a:pt x="4305" y="1394"/>
                  </a:lnTo>
                  <a:lnTo>
                    <a:pt x="4225" y="1380"/>
                  </a:lnTo>
                  <a:lnTo>
                    <a:pt x="4143" y="1375"/>
                  </a:lnTo>
                  <a:close/>
                  <a:moveTo>
                    <a:pt x="3012" y="0"/>
                  </a:moveTo>
                  <a:lnTo>
                    <a:pt x="3047" y="88"/>
                  </a:lnTo>
                  <a:lnTo>
                    <a:pt x="3082" y="183"/>
                  </a:lnTo>
                  <a:lnTo>
                    <a:pt x="3120" y="289"/>
                  </a:lnTo>
                  <a:lnTo>
                    <a:pt x="3157" y="404"/>
                  </a:lnTo>
                  <a:lnTo>
                    <a:pt x="3198" y="526"/>
                  </a:lnTo>
                  <a:lnTo>
                    <a:pt x="3215" y="526"/>
                  </a:lnTo>
                  <a:lnTo>
                    <a:pt x="3389" y="532"/>
                  </a:lnTo>
                  <a:lnTo>
                    <a:pt x="3435" y="409"/>
                  </a:lnTo>
                  <a:lnTo>
                    <a:pt x="3478" y="298"/>
                  </a:lnTo>
                  <a:lnTo>
                    <a:pt x="3521" y="195"/>
                  </a:lnTo>
                  <a:lnTo>
                    <a:pt x="3562" y="101"/>
                  </a:lnTo>
                  <a:lnTo>
                    <a:pt x="3601" y="16"/>
                  </a:lnTo>
                  <a:lnTo>
                    <a:pt x="3741" y="37"/>
                  </a:lnTo>
                  <a:lnTo>
                    <a:pt x="3880" y="62"/>
                  </a:lnTo>
                  <a:lnTo>
                    <a:pt x="4016" y="94"/>
                  </a:lnTo>
                  <a:lnTo>
                    <a:pt x="4022" y="187"/>
                  </a:lnTo>
                  <a:lnTo>
                    <a:pt x="4026" y="289"/>
                  </a:lnTo>
                  <a:lnTo>
                    <a:pt x="4030" y="400"/>
                  </a:lnTo>
                  <a:lnTo>
                    <a:pt x="4030" y="521"/>
                  </a:lnTo>
                  <a:lnTo>
                    <a:pt x="4030" y="651"/>
                  </a:lnTo>
                  <a:lnTo>
                    <a:pt x="4120" y="682"/>
                  </a:lnTo>
                  <a:lnTo>
                    <a:pt x="4209" y="716"/>
                  </a:lnTo>
                  <a:lnTo>
                    <a:pt x="4291" y="614"/>
                  </a:lnTo>
                  <a:lnTo>
                    <a:pt x="4369" y="521"/>
                  </a:lnTo>
                  <a:lnTo>
                    <a:pt x="4441" y="437"/>
                  </a:lnTo>
                  <a:lnTo>
                    <a:pt x="4510" y="361"/>
                  </a:lnTo>
                  <a:lnTo>
                    <a:pt x="4572" y="293"/>
                  </a:lnTo>
                  <a:lnTo>
                    <a:pt x="4699" y="355"/>
                  </a:lnTo>
                  <a:lnTo>
                    <a:pt x="4822" y="421"/>
                  </a:lnTo>
                  <a:lnTo>
                    <a:pt x="4942" y="493"/>
                  </a:lnTo>
                  <a:lnTo>
                    <a:pt x="4919" y="585"/>
                  </a:lnTo>
                  <a:lnTo>
                    <a:pt x="4892" y="682"/>
                  </a:lnTo>
                  <a:lnTo>
                    <a:pt x="4861" y="790"/>
                  </a:lnTo>
                  <a:lnTo>
                    <a:pt x="4824" y="905"/>
                  </a:lnTo>
                  <a:lnTo>
                    <a:pt x="4783" y="1028"/>
                  </a:lnTo>
                  <a:lnTo>
                    <a:pt x="4859" y="1086"/>
                  </a:lnTo>
                  <a:lnTo>
                    <a:pt x="4935" y="1145"/>
                  </a:lnTo>
                  <a:lnTo>
                    <a:pt x="5042" y="1074"/>
                  </a:lnTo>
                  <a:lnTo>
                    <a:pt x="5145" y="1010"/>
                  </a:lnTo>
                  <a:lnTo>
                    <a:pt x="5239" y="951"/>
                  </a:lnTo>
                  <a:lnTo>
                    <a:pt x="5329" y="899"/>
                  </a:lnTo>
                  <a:lnTo>
                    <a:pt x="5410" y="854"/>
                  </a:lnTo>
                  <a:lnTo>
                    <a:pt x="5510" y="951"/>
                  </a:lnTo>
                  <a:lnTo>
                    <a:pt x="5607" y="1055"/>
                  </a:lnTo>
                  <a:lnTo>
                    <a:pt x="5699" y="1160"/>
                  </a:lnTo>
                  <a:lnTo>
                    <a:pt x="5650" y="1240"/>
                  </a:lnTo>
                  <a:lnTo>
                    <a:pt x="5594" y="1324"/>
                  </a:lnTo>
                  <a:lnTo>
                    <a:pt x="5529" y="1416"/>
                  </a:lnTo>
                  <a:lnTo>
                    <a:pt x="5459" y="1515"/>
                  </a:lnTo>
                  <a:lnTo>
                    <a:pt x="5381" y="1618"/>
                  </a:lnTo>
                  <a:lnTo>
                    <a:pt x="5438" y="1696"/>
                  </a:lnTo>
                  <a:lnTo>
                    <a:pt x="5490" y="1778"/>
                  </a:lnTo>
                  <a:lnTo>
                    <a:pt x="5615" y="1743"/>
                  </a:lnTo>
                  <a:lnTo>
                    <a:pt x="5732" y="1714"/>
                  </a:lnTo>
                  <a:lnTo>
                    <a:pt x="5841" y="1687"/>
                  </a:lnTo>
                  <a:lnTo>
                    <a:pt x="5941" y="1665"/>
                  </a:lnTo>
                  <a:lnTo>
                    <a:pt x="6032" y="1648"/>
                  </a:lnTo>
                  <a:lnTo>
                    <a:pt x="6099" y="1770"/>
                  </a:lnTo>
                  <a:lnTo>
                    <a:pt x="6159" y="1897"/>
                  </a:lnTo>
                  <a:lnTo>
                    <a:pt x="6214" y="2028"/>
                  </a:lnTo>
                  <a:lnTo>
                    <a:pt x="6142" y="2088"/>
                  </a:lnTo>
                  <a:lnTo>
                    <a:pt x="6062" y="2151"/>
                  </a:lnTo>
                  <a:lnTo>
                    <a:pt x="5974" y="2219"/>
                  </a:lnTo>
                  <a:lnTo>
                    <a:pt x="5876" y="2291"/>
                  </a:lnTo>
                  <a:lnTo>
                    <a:pt x="5771" y="2367"/>
                  </a:lnTo>
                  <a:lnTo>
                    <a:pt x="5798" y="2457"/>
                  </a:lnTo>
                  <a:lnTo>
                    <a:pt x="5824" y="2550"/>
                  </a:lnTo>
                  <a:lnTo>
                    <a:pt x="5954" y="2556"/>
                  </a:lnTo>
                  <a:lnTo>
                    <a:pt x="6075" y="2564"/>
                  </a:lnTo>
                  <a:lnTo>
                    <a:pt x="6186" y="2574"/>
                  </a:lnTo>
                  <a:lnTo>
                    <a:pt x="6288" y="2583"/>
                  </a:lnTo>
                  <a:lnTo>
                    <a:pt x="6379" y="2595"/>
                  </a:lnTo>
                  <a:lnTo>
                    <a:pt x="6405" y="2732"/>
                  </a:lnTo>
                  <a:lnTo>
                    <a:pt x="6422" y="2872"/>
                  </a:lnTo>
                  <a:lnTo>
                    <a:pt x="6434" y="3012"/>
                  </a:lnTo>
                  <a:lnTo>
                    <a:pt x="6346" y="3047"/>
                  </a:lnTo>
                  <a:lnTo>
                    <a:pt x="6251" y="3082"/>
                  </a:lnTo>
                  <a:lnTo>
                    <a:pt x="6145" y="3120"/>
                  </a:lnTo>
                  <a:lnTo>
                    <a:pt x="6030" y="3159"/>
                  </a:lnTo>
                  <a:lnTo>
                    <a:pt x="5908" y="3198"/>
                  </a:lnTo>
                  <a:lnTo>
                    <a:pt x="5908" y="3217"/>
                  </a:lnTo>
                  <a:lnTo>
                    <a:pt x="5902" y="3389"/>
                  </a:lnTo>
                  <a:lnTo>
                    <a:pt x="6025" y="3435"/>
                  </a:lnTo>
                  <a:lnTo>
                    <a:pt x="6136" y="3478"/>
                  </a:lnTo>
                  <a:lnTo>
                    <a:pt x="6239" y="3521"/>
                  </a:lnTo>
                  <a:lnTo>
                    <a:pt x="6333" y="3562"/>
                  </a:lnTo>
                  <a:lnTo>
                    <a:pt x="6418" y="3601"/>
                  </a:lnTo>
                  <a:lnTo>
                    <a:pt x="6397" y="3741"/>
                  </a:lnTo>
                  <a:lnTo>
                    <a:pt x="6372" y="3880"/>
                  </a:lnTo>
                  <a:lnTo>
                    <a:pt x="6340" y="4016"/>
                  </a:lnTo>
                  <a:lnTo>
                    <a:pt x="6247" y="4022"/>
                  </a:lnTo>
                  <a:lnTo>
                    <a:pt x="6145" y="4026"/>
                  </a:lnTo>
                  <a:lnTo>
                    <a:pt x="6034" y="4030"/>
                  </a:lnTo>
                  <a:lnTo>
                    <a:pt x="5913" y="4030"/>
                  </a:lnTo>
                  <a:lnTo>
                    <a:pt x="5783" y="4030"/>
                  </a:lnTo>
                  <a:lnTo>
                    <a:pt x="5752" y="4120"/>
                  </a:lnTo>
                  <a:lnTo>
                    <a:pt x="5718" y="4209"/>
                  </a:lnTo>
                  <a:lnTo>
                    <a:pt x="5820" y="4291"/>
                  </a:lnTo>
                  <a:lnTo>
                    <a:pt x="5913" y="4369"/>
                  </a:lnTo>
                  <a:lnTo>
                    <a:pt x="5997" y="4441"/>
                  </a:lnTo>
                  <a:lnTo>
                    <a:pt x="6073" y="4510"/>
                  </a:lnTo>
                  <a:lnTo>
                    <a:pt x="6142" y="4572"/>
                  </a:lnTo>
                  <a:lnTo>
                    <a:pt x="6079" y="4699"/>
                  </a:lnTo>
                  <a:lnTo>
                    <a:pt x="6013" y="4824"/>
                  </a:lnTo>
                  <a:lnTo>
                    <a:pt x="5941" y="4942"/>
                  </a:lnTo>
                  <a:lnTo>
                    <a:pt x="5849" y="4919"/>
                  </a:lnTo>
                  <a:lnTo>
                    <a:pt x="5752" y="4892"/>
                  </a:lnTo>
                  <a:lnTo>
                    <a:pt x="5644" y="4861"/>
                  </a:lnTo>
                  <a:lnTo>
                    <a:pt x="5529" y="4824"/>
                  </a:lnTo>
                  <a:lnTo>
                    <a:pt x="5407" y="4783"/>
                  </a:lnTo>
                  <a:lnTo>
                    <a:pt x="5348" y="4859"/>
                  </a:lnTo>
                  <a:lnTo>
                    <a:pt x="5290" y="4935"/>
                  </a:lnTo>
                  <a:lnTo>
                    <a:pt x="5360" y="5042"/>
                  </a:lnTo>
                  <a:lnTo>
                    <a:pt x="5424" y="5145"/>
                  </a:lnTo>
                  <a:lnTo>
                    <a:pt x="5483" y="5239"/>
                  </a:lnTo>
                  <a:lnTo>
                    <a:pt x="5535" y="5329"/>
                  </a:lnTo>
                  <a:lnTo>
                    <a:pt x="5580" y="5410"/>
                  </a:lnTo>
                  <a:lnTo>
                    <a:pt x="5483" y="5510"/>
                  </a:lnTo>
                  <a:lnTo>
                    <a:pt x="5379" y="5607"/>
                  </a:lnTo>
                  <a:lnTo>
                    <a:pt x="5274" y="5699"/>
                  </a:lnTo>
                  <a:lnTo>
                    <a:pt x="5194" y="5650"/>
                  </a:lnTo>
                  <a:lnTo>
                    <a:pt x="5110" y="5594"/>
                  </a:lnTo>
                  <a:lnTo>
                    <a:pt x="5019" y="5529"/>
                  </a:lnTo>
                  <a:lnTo>
                    <a:pt x="4919" y="5459"/>
                  </a:lnTo>
                  <a:lnTo>
                    <a:pt x="4816" y="5381"/>
                  </a:lnTo>
                  <a:lnTo>
                    <a:pt x="4738" y="5438"/>
                  </a:lnTo>
                  <a:lnTo>
                    <a:pt x="4656" y="5490"/>
                  </a:lnTo>
                  <a:lnTo>
                    <a:pt x="4691" y="5615"/>
                  </a:lnTo>
                  <a:lnTo>
                    <a:pt x="4720" y="5732"/>
                  </a:lnTo>
                  <a:lnTo>
                    <a:pt x="4748" y="5841"/>
                  </a:lnTo>
                  <a:lnTo>
                    <a:pt x="4769" y="5941"/>
                  </a:lnTo>
                  <a:lnTo>
                    <a:pt x="4787" y="6032"/>
                  </a:lnTo>
                  <a:lnTo>
                    <a:pt x="4664" y="6099"/>
                  </a:lnTo>
                  <a:lnTo>
                    <a:pt x="4537" y="6159"/>
                  </a:lnTo>
                  <a:lnTo>
                    <a:pt x="4406" y="6214"/>
                  </a:lnTo>
                  <a:lnTo>
                    <a:pt x="4346" y="6142"/>
                  </a:lnTo>
                  <a:lnTo>
                    <a:pt x="4284" y="6062"/>
                  </a:lnTo>
                  <a:lnTo>
                    <a:pt x="4215" y="5974"/>
                  </a:lnTo>
                  <a:lnTo>
                    <a:pt x="4143" y="5876"/>
                  </a:lnTo>
                  <a:lnTo>
                    <a:pt x="4067" y="5771"/>
                  </a:lnTo>
                  <a:lnTo>
                    <a:pt x="3977" y="5798"/>
                  </a:lnTo>
                  <a:lnTo>
                    <a:pt x="3884" y="5824"/>
                  </a:lnTo>
                  <a:lnTo>
                    <a:pt x="3878" y="5954"/>
                  </a:lnTo>
                  <a:lnTo>
                    <a:pt x="3870" y="6075"/>
                  </a:lnTo>
                  <a:lnTo>
                    <a:pt x="3860" y="6186"/>
                  </a:lnTo>
                  <a:lnTo>
                    <a:pt x="3851" y="6288"/>
                  </a:lnTo>
                  <a:lnTo>
                    <a:pt x="3839" y="6379"/>
                  </a:lnTo>
                  <a:lnTo>
                    <a:pt x="3702" y="6405"/>
                  </a:lnTo>
                  <a:lnTo>
                    <a:pt x="3562" y="6422"/>
                  </a:lnTo>
                  <a:lnTo>
                    <a:pt x="3422" y="6434"/>
                  </a:lnTo>
                  <a:lnTo>
                    <a:pt x="3387" y="6348"/>
                  </a:lnTo>
                  <a:lnTo>
                    <a:pt x="3352" y="6251"/>
                  </a:lnTo>
                  <a:lnTo>
                    <a:pt x="3315" y="6145"/>
                  </a:lnTo>
                  <a:lnTo>
                    <a:pt x="3276" y="6032"/>
                  </a:lnTo>
                  <a:lnTo>
                    <a:pt x="3237" y="5908"/>
                  </a:lnTo>
                  <a:lnTo>
                    <a:pt x="3215" y="5908"/>
                  </a:lnTo>
                  <a:lnTo>
                    <a:pt x="3045" y="5902"/>
                  </a:lnTo>
                  <a:lnTo>
                    <a:pt x="2999" y="6025"/>
                  </a:lnTo>
                  <a:lnTo>
                    <a:pt x="2956" y="6136"/>
                  </a:lnTo>
                  <a:lnTo>
                    <a:pt x="2913" y="6239"/>
                  </a:lnTo>
                  <a:lnTo>
                    <a:pt x="2872" y="6333"/>
                  </a:lnTo>
                  <a:lnTo>
                    <a:pt x="2833" y="6418"/>
                  </a:lnTo>
                  <a:lnTo>
                    <a:pt x="2693" y="6397"/>
                  </a:lnTo>
                  <a:lnTo>
                    <a:pt x="2554" y="6372"/>
                  </a:lnTo>
                  <a:lnTo>
                    <a:pt x="2418" y="6340"/>
                  </a:lnTo>
                  <a:lnTo>
                    <a:pt x="2412" y="6247"/>
                  </a:lnTo>
                  <a:lnTo>
                    <a:pt x="2408" y="6145"/>
                  </a:lnTo>
                  <a:lnTo>
                    <a:pt x="2404" y="6034"/>
                  </a:lnTo>
                  <a:lnTo>
                    <a:pt x="2404" y="5913"/>
                  </a:lnTo>
                  <a:lnTo>
                    <a:pt x="2404" y="5783"/>
                  </a:lnTo>
                  <a:lnTo>
                    <a:pt x="2314" y="5752"/>
                  </a:lnTo>
                  <a:lnTo>
                    <a:pt x="2225" y="5718"/>
                  </a:lnTo>
                  <a:lnTo>
                    <a:pt x="2143" y="5820"/>
                  </a:lnTo>
                  <a:lnTo>
                    <a:pt x="2065" y="5913"/>
                  </a:lnTo>
                  <a:lnTo>
                    <a:pt x="1993" y="5997"/>
                  </a:lnTo>
                  <a:lnTo>
                    <a:pt x="1924" y="6073"/>
                  </a:lnTo>
                  <a:lnTo>
                    <a:pt x="1862" y="6142"/>
                  </a:lnTo>
                  <a:lnTo>
                    <a:pt x="1735" y="6081"/>
                  </a:lnTo>
                  <a:lnTo>
                    <a:pt x="1610" y="6013"/>
                  </a:lnTo>
                  <a:lnTo>
                    <a:pt x="1492" y="5941"/>
                  </a:lnTo>
                  <a:lnTo>
                    <a:pt x="1515" y="5849"/>
                  </a:lnTo>
                  <a:lnTo>
                    <a:pt x="1542" y="5752"/>
                  </a:lnTo>
                  <a:lnTo>
                    <a:pt x="1573" y="5644"/>
                  </a:lnTo>
                  <a:lnTo>
                    <a:pt x="1610" y="5529"/>
                  </a:lnTo>
                  <a:lnTo>
                    <a:pt x="1651" y="5407"/>
                  </a:lnTo>
                  <a:lnTo>
                    <a:pt x="1575" y="5348"/>
                  </a:lnTo>
                  <a:lnTo>
                    <a:pt x="1499" y="5290"/>
                  </a:lnTo>
                  <a:lnTo>
                    <a:pt x="1392" y="5360"/>
                  </a:lnTo>
                  <a:lnTo>
                    <a:pt x="1289" y="5424"/>
                  </a:lnTo>
                  <a:lnTo>
                    <a:pt x="1195" y="5483"/>
                  </a:lnTo>
                  <a:lnTo>
                    <a:pt x="1106" y="5535"/>
                  </a:lnTo>
                  <a:lnTo>
                    <a:pt x="1024" y="5580"/>
                  </a:lnTo>
                  <a:lnTo>
                    <a:pt x="924" y="5483"/>
                  </a:lnTo>
                  <a:lnTo>
                    <a:pt x="827" y="5379"/>
                  </a:lnTo>
                  <a:lnTo>
                    <a:pt x="735" y="5274"/>
                  </a:lnTo>
                  <a:lnTo>
                    <a:pt x="784" y="5194"/>
                  </a:lnTo>
                  <a:lnTo>
                    <a:pt x="840" y="5110"/>
                  </a:lnTo>
                  <a:lnTo>
                    <a:pt x="905" y="5019"/>
                  </a:lnTo>
                  <a:lnTo>
                    <a:pt x="975" y="4919"/>
                  </a:lnTo>
                  <a:lnTo>
                    <a:pt x="1053" y="4816"/>
                  </a:lnTo>
                  <a:lnTo>
                    <a:pt x="996" y="4738"/>
                  </a:lnTo>
                  <a:lnTo>
                    <a:pt x="944" y="4656"/>
                  </a:lnTo>
                  <a:lnTo>
                    <a:pt x="819" y="4691"/>
                  </a:lnTo>
                  <a:lnTo>
                    <a:pt x="702" y="4720"/>
                  </a:lnTo>
                  <a:lnTo>
                    <a:pt x="593" y="4748"/>
                  </a:lnTo>
                  <a:lnTo>
                    <a:pt x="493" y="4769"/>
                  </a:lnTo>
                  <a:lnTo>
                    <a:pt x="402" y="4787"/>
                  </a:lnTo>
                  <a:lnTo>
                    <a:pt x="335" y="4664"/>
                  </a:lnTo>
                  <a:lnTo>
                    <a:pt x="275" y="4537"/>
                  </a:lnTo>
                  <a:lnTo>
                    <a:pt x="220" y="4406"/>
                  </a:lnTo>
                  <a:lnTo>
                    <a:pt x="293" y="4346"/>
                  </a:lnTo>
                  <a:lnTo>
                    <a:pt x="372" y="4284"/>
                  </a:lnTo>
                  <a:lnTo>
                    <a:pt x="460" y="4215"/>
                  </a:lnTo>
                  <a:lnTo>
                    <a:pt x="558" y="4143"/>
                  </a:lnTo>
                  <a:lnTo>
                    <a:pt x="663" y="4069"/>
                  </a:lnTo>
                  <a:lnTo>
                    <a:pt x="636" y="3977"/>
                  </a:lnTo>
                  <a:lnTo>
                    <a:pt x="610" y="3884"/>
                  </a:lnTo>
                  <a:lnTo>
                    <a:pt x="480" y="3878"/>
                  </a:lnTo>
                  <a:lnTo>
                    <a:pt x="359" y="3870"/>
                  </a:lnTo>
                  <a:lnTo>
                    <a:pt x="248" y="3860"/>
                  </a:lnTo>
                  <a:lnTo>
                    <a:pt x="146" y="3851"/>
                  </a:lnTo>
                  <a:lnTo>
                    <a:pt x="55" y="3841"/>
                  </a:lnTo>
                  <a:lnTo>
                    <a:pt x="29" y="3702"/>
                  </a:lnTo>
                  <a:lnTo>
                    <a:pt x="12" y="3562"/>
                  </a:lnTo>
                  <a:lnTo>
                    <a:pt x="0" y="3422"/>
                  </a:lnTo>
                  <a:lnTo>
                    <a:pt x="86" y="3387"/>
                  </a:lnTo>
                  <a:lnTo>
                    <a:pt x="183" y="3352"/>
                  </a:lnTo>
                  <a:lnTo>
                    <a:pt x="289" y="3315"/>
                  </a:lnTo>
                  <a:lnTo>
                    <a:pt x="402" y="3277"/>
                  </a:lnTo>
                  <a:lnTo>
                    <a:pt x="526" y="3237"/>
                  </a:lnTo>
                  <a:lnTo>
                    <a:pt x="526" y="3217"/>
                  </a:lnTo>
                  <a:lnTo>
                    <a:pt x="532" y="3045"/>
                  </a:lnTo>
                  <a:lnTo>
                    <a:pt x="409" y="2999"/>
                  </a:lnTo>
                  <a:lnTo>
                    <a:pt x="298" y="2956"/>
                  </a:lnTo>
                  <a:lnTo>
                    <a:pt x="195" y="2913"/>
                  </a:lnTo>
                  <a:lnTo>
                    <a:pt x="101" y="2872"/>
                  </a:lnTo>
                  <a:lnTo>
                    <a:pt x="16" y="2833"/>
                  </a:lnTo>
                  <a:lnTo>
                    <a:pt x="37" y="2693"/>
                  </a:lnTo>
                  <a:lnTo>
                    <a:pt x="62" y="2554"/>
                  </a:lnTo>
                  <a:lnTo>
                    <a:pt x="94" y="2418"/>
                  </a:lnTo>
                  <a:lnTo>
                    <a:pt x="187" y="2412"/>
                  </a:lnTo>
                  <a:lnTo>
                    <a:pt x="289" y="2408"/>
                  </a:lnTo>
                  <a:lnTo>
                    <a:pt x="400" y="2404"/>
                  </a:lnTo>
                  <a:lnTo>
                    <a:pt x="521" y="2404"/>
                  </a:lnTo>
                  <a:lnTo>
                    <a:pt x="651" y="2404"/>
                  </a:lnTo>
                  <a:lnTo>
                    <a:pt x="682" y="2314"/>
                  </a:lnTo>
                  <a:lnTo>
                    <a:pt x="716" y="2225"/>
                  </a:lnTo>
                  <a:lnTo>
                    <a:pt x="614" y="2143"/>
                  </a:lnTo>
                  <a:lnTo>
                    <a:pt x="521" y="2065"/>
                  </a:lnTo>
                  <a:lnTo>
                    <a:pt x="437" y="1993"/>
                  </a:lnTo>
                  <a:lnTo>
                    <a:pt x="361" y="1924"/>
                  </a:lnTo>
                  <a:lnTo>
                    <a:pt x="293" y="1862"/>
                  </a:lnTo>
                  <a:lnTo>
                    <a:pt x="353" y="1735"/>
                  </a:lnTo>
                  <a:lnTo>
                    <a:pt x="421" y="1612"/>
                  </a:lnTo>
                  <a:lnTo>
                    <a:pt x="493" y="1492"/>
                  </a:lnTo>
                  <a:lnTo>
                    <a:pt x="585" y="1515"/>
                  </a:lnTo>
                  <a:lnTo>
                    <a:pt x="682" y="1542"/>
                  </a:lnTo>
                  <a:lnTo>
                    <a:pt x="790" y="1573"/>
                  </a:lnTo>
                  <a:lnTo>
                    <a:pt x="905" y="1610"/>
                  </a:lnTo>
                  <a:lnTo>
                    <a:pt x="1028" y="1651"/>
                  </a:lnTo>
                  <a:lnTo>
                    <a:pt x="1086" y="1575"/>
                  </a:lnTo>
                  <a:lnTo>
                    <a:pt x="1145" y="1499"/>
                  </a:lnTo>
                  <a:lnTo>
                    <a:pt x="1074" y="1392"/>
                  </a:lnTo>
                  <a:lnTo>
                    <a:pt x="1010" y="1289"/>
                  </a:lnTo>
                  <a:lnTo>
                    <a:pt x="951" y="1195"/>
                  </a:lnTo>
                  <a:lnTo>
                    <a:pt x="899" y="1106"/>
                  </a:lnTo>
                  <a:lnTo>
                    <a:pt x="854" y="1024"/>
                  </a:lnTo>
                  <a:lnTo>
                    <a:pt x="951" y="924"/>
                  </a:lnTo>
                  <a:lnTo>
                    <a:pt x="1055" y="827"/>
                  </a:lnTo>
                  <a:lnTo>
                    <a:pt x="1160" y="735"/>
                  </a:lnTo>
                  <a:lnTo>
                    <a:pt x="1240" y="784"/>
                  </a:lnTo>
                  <a:lnTo>
                    <a:pt x="1324" y="840"/>
                  </a:lnTo>
                  <a:lnTo>
                    <a:pt x="1416" y="905"/>
                  </a:lnTo>
                  <a:lnTo>
                    <a:pt x="1515" y="975"/>
                  </a:lnTo>
                  <a:lnTo>
                    <a:pt x="1618" y="1053"/>
                  </a:lnTo>
                  <a:lnTo>
                    <a:pt x="1696" y="996"/>
                  </a:lnTo>
                  <a:lnTo>
                    <a:pt x="1778" y="944"/>
                  </a:lnTo>
                  <a:lnTo>
                    <a:pt x="1743" y="819"/>
                  </a:lnTo>
                  <a:lnTo>
                    <a:pt x="1714" y="702"/>
                  </a:lnTo>
                  <a:lnTo>
                    <a:pt x="1687" y="593"/>
                  </a:lnTo>
                  <a:lnTo>
                    <a:pt x="1665" y="493"/>
                  </a:lnTo>
                  <a:lnTo>
                    <a:pt x="1648" y="402"/>
                  </a:lnTo>
                  <a:lnTo>
                    <a:pt x="1770" y="335"/>
                  </a:lnTo>
                  <a:lnTo>
                    <a:pt x="1897" y="275"/>
                  </a:lnTo>
                  <a:lnTo>
                    <a:pt x="2028" y="220"/>
                  </a:lnTo>
                  <a:lnTo>
                    <a:pt x="2088" y="293"/>
                  </a:lnTo>
                  <a:lnTo>
                    <a:pt x="2151" y="372"/>
                  </a:lnTo>
                  <a:lnTo>
                    <a:pt x="2219" y="460"/>
                  </a:lnTo>
                  <a:lnTo>
                    <a:pt x="2291" y="558"/>
                  </a:lnTo>
                  <a:lnTo>
                    <a:pt x="2365" y="663"/>
                  </a:lnTo>
                  <a:lnTo>
                    <a:pt x="2457" y="636"/>
                  </a:lnTo>
                  <a:lnTo>
                    <a:pt x="2550" y="610"/>
                  </a:lnTo>
                  <a:lnTo>
                    <a:pt x="2556" y="480"/>
                  </a:lnTo>
                  <a:lnTo>
                    <a:pt x="2564" y="359"/>
                  </a:lnTo>
                  <a:lnTo>
                    <a:pt x="2574" y="248"/>
                  </a:lnTo>
                  <a:lnTo>
                    <a:pt x="2583" y="146"/>
                  </a:lnTo>
                  <a:lnTo>
                    <a:pt x="2593" y="55"/>
                  </a:lnTo>
                  <a:lnTo>
                    <a:pt x="2732" y="29"/>
                  </a:lnTo>
                  <a:lnTo>
                    <a:pt x="2872" y="12"/>
                  </a:lnTo>
                  <a:lnTo>
                    <a:pt x="3012" y="0"/>
                  </a:lnTo>
                  <a:close/>
                </a:path>
              </a:pathLst>
            </a:custGeom>
            <a:solidFill>
              <a:srgbClr val="007233"/>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88" name="Donut 59"/>
            <p:cNvSpPr>
              <a:spLocks noChangeAspect="1"/>
            </p:cNvSpPr>
            <p:nvPr/>
          </p:nvSpPr>
          <p:spPr bwMode="auto">
            <a:xfrm>
              <a:off x="23735" y="5045744"/>
              <a:ext cx="547219" cy="594449"/>
            </a:xfrm>
            <a:custGeom>
              <a:avLst/>
              <a:gdLst/>
              <a:ahLst/>
              <a:cxnLst/>
              <a:rect l="l" t="t" r="r" b="b"/>
              <a:pathLst>
                <a:path w="3409950" h="3705225">
                  <a:moveTo>
                    <a:pt x="1678275" y="1464104"/>
                  </a:moveTo>
                  <a:cubicBezTo>
                    <a:pt x="1863395" y="1464104"/>
                    <a:pt x="2013464" y="1614173"/>
                    <a:pt x="2013464" y="1799293"/>
                  </a:cubicBezTo>
                  <a:cubicBezTo>
                    <a:pt x="2013464" y="1984413"/>
                    <a:pt x="1863395" y="2134482"/>
                    <a:pt x="1678275" y="2134482"/>
                  </a:cubicBezTo>
                  <a:cubicBezTo>
                    <a:pt x="1493155" y="2134482"/>
                    <a:pt x="1343086" y="1984413"/>
                    <a:pt x="1343086" y="1799293"/>
                  </a:cubicBezTo>
                  <a:cubicBezTo>
                    <a:pt x="1343086" y="1614173"/>
                    <a:pt x="1493155" y="1464104"/>
                    <a:pt x="1678275" y="1464104"/>
                  </a:cubicBezTo>
                  <a:close/>
                  <a:moveTo>
                    <a:pt x="1678275" y="1128915"/>
                  </a:moveTo>
                  <a:cubicBezTo>
                    <a:pt x="1308035" y="1128915"/>
                    <a:pt x="1007897" y="1429053"/>
                    <a:pt x="1007897" y="1799293"/>
                  </a:cubicBezTo>
                  <a:cubicBezTo>
                    <a:pt x="1007897" y="2169533"/>
                    <a:pt x="1308035" y="2469671"/>
                    <a:pt x="1678275" y="2469671"/>
                  </a:cubicBezTo>
                  <a:cubicBezTo>
                    <a:pt x="2048515" y="2469671"/>
                    <a:pt x="2348653" y="2169533"/>
                    <a:pt x="2348653" y="1799293"/>
                  </a:cubicBezTo>
                  <a:cubicBezTo>
                    <a:pt x="2348653" y="1429053"/>
                    <a:pt x="2048515" y="1128915"/>
                    <a:pt x="1678275" y="1128915"/>
                  </a:cubicBezTo>
                  <a:close/>
                  <a:moveTo>
                    <a:pt x="1876425" y="0"/>
                  </a:moveTo>
                  <a:lnTo>
                    <a:pt x="1952625" y="352425"/>
                  </a:lnTo>
                  <a:lnTo>
                    <a:pt x="2314575" y="476250"/>
                  </a:lnTo>
                  <a:lnTo>
                    <a:pt x="2533650" y="238125"/>
                  </a:lnTo>
                  <a:lnTo>
                    <a:pt x="2867025" y="466725"/>
                  </a:lnTo>
                  <a:lnTo>
                    <a:pt x="2743200" y="800100"/>
                  </a:lnTo>
                  <a:lnTo>
                    <a:pt x="2924175" y="1066800"/>
                  </a:lnTo>
                  <a:lnTo>
                    <a:pt x="3295650" y="1066800"/>
                  </a:lnTo>
                  <a:lnTo>
                    <a:pt x="3409950" y="1485900"/>
                  </a:lnTo>
                  <a:lnTo>
                    <a:pt x="3152775" y="1685925"/>
                  </a:lnTo>
                  <a:lnTo>
                    <a:pt x="3152775" y="2000250"/>
                  </a:lnTo>
                  <a:lnTo>
                    <a:pt x="3390900" y="2219325"/>
                  </a:lnTo>
                  <a:lnTo>
                    <a:pt x="3305175" y="2600325"/>
                  </a:lnTo>
                  <a:lnTo>
                    <a:pt x="2895600" y="2609850"/>
                  </a:lnTo>
                  <a:lnTo>
                    <a:pt x="2752725" y="2838450"/>
                  </a:lnTo>
                  <a:lnTo>
                    <a:pt x="2838450" y="3190875"/>
                  </a:lnTo>
                  <a:lnTo>
                    <a:pt x="2533650" y="3419475"/>
                  </a:lnTo>
                  <a:lnTo>
                    <a:pt x="2257425" y="3200400"/>
                  </a:lnTo>
                  <a:lnTo>
                    <a:pt x="1952625" y="3333750"/>
                  </a:lnTo>
                  <a:lnTo>
                    <a:pt x="1885950" y="3667125"/>
                  </a:lnTo>
                  <a:lnTo>
                    <a:pt x="1495425" y="3705225"/>
                  </a:lnTo>
                  <a:lnTo>
                    <a:pt x="1400175" y="3295650"/>
                  </a:lnTo>
                  <a:lnTo>
                    <a:pt x="1085850" y="3200400"/>
                  </a:lnTo>
                  <a:lnTo>
                    <a:pt x="819150" y="3419475"/>
                  </a:lnTo>
                  <a:lnTo>
                    <a:pt x="552450" y="3181350"/>
                  </a:lnTo>
                  <a:lnTo>
                    <a:pt x="647700" y="2867025"/>
                  </a:lnTo>
                  <a:lnTo>
                    <a:pt x="447675" y="2600325"/>
                  </a:lnTo>
                  <a:lnTo>
                    <a:pt x="76200" y="2590800"/>
                  </a:lnTo>
                  <a:lnTo>
                    <a:pt x="0" y="2219325"/>
                  </a:lnTo>
                  <a:lnTo>
                    <a:pt x="295275" y="2066925"/>
                  </a:lnTo>
                  <a:lnTo>
                    <a:pt x="285750" y="1695450"/>
                  </a:lnTo>
                  <a:lnTo>
                    <a:pt x="0" y="1457325"/>
                  </a:lnTo>
                  <a:lnTo>
                    <a:pt x="104775" y="1104900"/>
                  </a:lnTo>
                  <a:lnTo>
                    <a:pt x="457200" y="1114425"/>
                  </a:lnTo>
                  <a:lnTo>
                    <a:pt x="657225" y="895350"/>
                  </a:lnTo>
                  <a:lnTo>
                    <a:pt x="533400" y="466725"/>
                  </a:lnTo>
                  <a:lnTo>
                    <a:pt x="809625" y="247650"/>
                  </a:lnTo>
                  <a:lnTo>
                    <a:pt x="1133475" y="466725"/>
                  </a:lnTo>
                  <a:lnTo>
                    <a:pt x="1400175" y="371475"/>
                  </a:lnTo>
                  <a:lnTo>
                    <a:pt x="1504950" y="9525"/>
                  </a:lnTo>
                  <a:close/>
                </a:path>
              </a:pathLst>
            </a:custGeom>
            <a:solidFill>
              <a:srgbClr val="74B2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5478" fontAlgn="base">
                <a:spcBef>
                  <a:spcPct val="0"/>
                </a:spcBef>
                <a:spcAft>
                  <a:spcPct val="0"/>
                </a:spcAft>
              </a:pPr>
              <a:endParaRPr lang="en-US" sz="1568"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9" name="Freeform 88"/>
            <p:cNvSpPr>
              <a:spLocks noChangeAspect="1" noEditPoints="1"/>
            </p:cNvSpPr>
            <p:nvPr/>
          </p:nvSpPr>
          <p:spPr bwMode="auto">
            <a:xfrm rot="903359">
              <a:off x="703403" y="5453040"/>
              <a:ext cx="407264" cy="43856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BAD80A"/>
            </a:solidFill>
            <a:ln>
              <a:noFill/>
            </a:ln>
            <a:extLst/>
          </p:spPr>
          <p:txBody>
            <a:bodyPr vert="horz" wrap="square" lIns="89642" tIns="44821" rIns="89642" bIns="44821" numCol="1" anchor="t" anchorCtr="0" compatLnSpc="1">
              <a:prstTxWarp prst="textNoShape">
                <a:avLst/>
              </a:prstTxWarp>
            </a:bodyPr>
            <a:lstStyle/>
            <a:p>
              <a:endParaRPr lang="en-US" sz="1765" dirty="0">
                <a:solidFill>
                  <a:schemeClr val="accent3"/>
                </a:solidFill>
              </a:endParaRPr>
            </a:p>
          </p:txBody>
        </p:sp>
        <p:sp>
          <p:nvSpPr>
            <p:cNvPr id="90" name="Freeform 88"/>
            <p:cNvSpPr>
              <a:spLocks noChangeAspect="1" noEditPoints="1"/>
            </p:cNvSpPr>
            <p:nvPr/>
          </p:nvSpPr>
          <p:spPr bwMode="auto">
            <a:xfrm rot="903359">
              <a:off x="-47949" y="5563653"/>
              <a:ext cx="407264" cy="43856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BAD80A"/>
            </a:solidFill>
            <a:ln>
              <a:noFill/>
            </a:ln>
            <a:extLst/>
          </p:spPr>
          <p:txBody>
            <a:bodyPr vert="horz" wrap="square" lIns="89642" tIns="44821" rIns="89642" bIns="44821" numCol="1" anchor="t" anchorCtr="0" compatLnSpc="1">
              <a:prstTxWarp prst="textNoShape">
                <a:avLst/>
              </a:prstTxWarp>
            </a:bodyPr>
            <a:lstStyle/>
            <a:p>
              <a:endParaRPr lang="en-US" sz="1765" dirty="0">
                <a:solidFill>
                  <a:schemeClr val="accent3"/>
                </a:solidFill>
              </a:endParaRPr>
            </a:p>
          </p:txBody>
        </p:sp>
      </p:grpSp>
      <p:cxnSp>
        <p:nvCxnSpPr>
          <p:cNvPr id="58" name="Elbow Connector 57"/>
          <p:cNvCxnSpPr/>
          <p:nvPr/>
        </p:nvCxnSpPr>
        <p:spPr>
          <a:xfrm>
            <a:off x="7179248" y="4158334"/>
            <a:ext cx="1077831" cy="398932"/>
          </a:xfrm>
          <a:prstGeom prst="bentConnector3">
            <a:avLst>
              <a:gd name="adj1" fmla="val 540"/>
            </a:avLst>
          </a:prstGeom>
          <a:ln w="19050">
            <a:solidFill>
              <a:srgbClr val="4071CA"/>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165895" y="2285395"/>
            <a:ext cx="753810" cy="2822566"/>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896386">
              <a:defRPr/>
            </a:pPr>
            <a:r>
              <a:rPr lang="en-US" sz="1078" kern="0" dirty="0">
                <a:solidFill>
                  <a:prstClr val="white"/>
                </a:solidFill>
                <a:cs typeface="Arial" panose="020B0604020202020204" pitchFamily="34" charset="0"/>
              </a:rPr>
              <a:t>Azure Event Hubs</a:t>
            </a:r>
            <a:br>
              <a:rPr lang="en-US" sz="1078" kern="0" dirty="0">
                <a:solidFill>
                  <a:prstClr val="white"/>
                </a:solidFill>
                <a:cs typeface="Arial" panose="020B0604020202020204" pitchFamily="34" charset="0"/>
              </a:rPr>
            </a:br>
            <a:r>
              <a:rPr lang="en-US" sz="1078" kern="0" dirty="0">
                <a:solidFill>
                  <a:prstClr val="white"/>
                </a:solidFill>
                <a:cs typeface="Arial" panose="020B0604020202020204" pitchFamily="34" charset="0"/>
              </a:rPr>
              <a:t>&amp; Service Bus</a:t>
            </a:r>
          </a:p>
        </p:txBody>
      </p:sp>
      <p:sp>
        <p:nvSpPr>
          <p:cNvPr id="48" name="Rectangle 47"/>
          <p:cNvSpPr/>
          <p:nvPr/>
        </p:nvSpPr>
        <p:spPr>
          <a:xfrm>
            <a:off x="1134472" y="3061803"/>
            <a:ext cx="608667" cy="264696"/>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Agent</a:t>
            </a:r>
          </a:p>
        </p:txBody>
      </p:sp>
      <p:sp>
        <p:nvSpPr>
          <p:cNvPr id="66" name="Rectangle 65"/>
          <p:cNvSpPr/>
          <p:nvPr/>
        </p:nvSpPr>
        <p:spPr>
          <a:xfrm>
            <a:off x="2773222" y="4821038"/>
            <a:ext cx="608667" cy="264696"/>
          </a:xfrm>
          <a:prstGeom prst="rect">
            <a:avLst/>
          </a:prstGeom>
          <a:solidFill>
            <a:srgbClr val="5A80CB"/>
          </a:solidFill>
          <a:ln w="6350" cap="flat" cmpd="sng" algn="ctr">
            <a:solidFill>
              <a:srgbClr val="4472C4"/>
            </a:solidFill>
            <a:prstDash val="solid"/>
            <a:miter lim="800000"/>
          </a:ln>
          <a:effectLst/>
        </p:spPr>
        <p:txBody>
          <a:bodyPr rtlCol="0" anchor="ctr"/>
          <a:lstStyle/>
          <a:p>
            <a:pPr algn="ctr" defTabSz="896386"/>
            <a:r>
              <a:rPr lang="en-US" sz="1078" kern="0" dirty="0">
                <a:solidFill>
                  <a:prstClr val="white"/>
                </a:solidFill>
                <a:cs typeface="Arial" panose="020B0604020202020204" pitchFamily="34" charset="0"/>
              </a:rPr>
              <a:t>Agent</a:t>
            </a:r>
          </a:p>
        </p:txBody>
      </p:sp>
      <p:cxnSp>
        <p:nvCxnSpPr>
          <p:cNvPr id="14" name="Elbow Connector 13"/>
          <p:cNvCxnSpPr>
            <a:stCxn id="60" idx="3"/>
            <a:endCxn id="121" idx="1"/>
          </p:cNvCxnSpPr>
          <p:nvPr/>
        </p:nvCxnSpPr>
        <p:spPr>
          <a:xfrm flipV="1">
            <a:off x="2112079" y="4651663"/>
            <a:ext cx="414904" cy="633869"/>
          </a:xfrm>
          <a:prstGeom prst="bentConnector3">
            <a:avLst>
              <a:gd name="adj1" fmla="val 50000"/>
            </a:avLst>
          </a:prstGeom>
          <a:ln w="38100">
            <a:solidFill>
              <a:srgbClr val="5A80CB"/>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stCxn id="59" idx="3"/>
            <a:endCxn id="121" idx="1"/>
          </p:cNvCxnSpPr>
          <p:nvPr/>
        </p:nvCxnSpPr>
        <p:spPr>
          <a:xfrm>
            <a:off x="2112079" y="4131839"/>
            <a:ext cx="414904" cy="519824"/>
          </a:xfrm>
          <a:prstGeom prst="bentConnector3">
            <a:avLst>
              <a:gd name="adj1" fmla="val 50000"/>
            </a:avLst>
          </a:prstGeom>
          <a:ln w="38100">
            <a:solidFill>
              <a:srgbClr val="5A80CB"/>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681555" y="4653676"/>
            <a:ext cx="310842" cy="0"/>
          </a:xfrm>
          <a:prstGeom prst="straightConnector1">
            <a:avLst/>
          </a:prstGeom>
          <a:noFill/>
          <a:ln w="38100" cap="flat" cmpd="sng" algn="ctr">
            <a:solidFill>
              <a:srgbClr val="4472C4"/>
            </a:solidFill>
            <a:prstDash val="solid"/>
            <a:miter lim="800000"/>
            <a:headEnd type="triangle" w="med" len="med"/>
            <a:tailEnd type="triangle" w="med" len="med"/>
          </a:ln>
          <a:effectLst/>
        </p:spPr>
      </p:cxnSp>
    </p:spTree>
    <p:extLst>
      <p:ext uri="{BB962C8B-B14F-4D97-AF65-F5344CB8AC3E}">
        <p14:creationId xmlns:p14="http://schemas.microsoft.com/office/powerpoint/2010/main" val="1507809122"/>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88" y="0"/>
            <a:ext cx="12188825" cy="945292"/>
          </a:xfrm>
          <a:solidFill>
            <a:srgbClr val="007DBA"/>
          </a:solidFill>
        </p:spPr>
        <p:txBody>
          <a:bodyPr vert="horz" wrap="square" lIns="1188720" tIns="0" rIns="0" bIns="0" rtlCol="0" anchor="ctr" anchorCtr="0">
            <a:noAutofit/>
          </a:bodyPr>
          <a:lstStyle/>
          <a:p>
            <a:r>
              <a:rPr lang="en-US" sz="3600" dirty="0"/>
              <a:t>The Internet of Things – Manufacturing</a:t>
            </a:r>
          </a:p>
        </p:txBody>
      </p:sp>
      <p:sp>
        <p:nvSpPr>
          <p:cNvPr id="521" name="Rectangle 520"/>
          <p:cNvSpPr/>
          <p:nvPr/>
        </p:nvSpPr>
        <p:spPr bwMode="auto">
          <a:xfrm>
            <a:off x="1588" y="0"/>
            <a:ext cx="941832" cy="9418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520" name="Group 519"/>
          <p:cNvGrpSpPr>
            <a:grpSpLocks noChangeAspect="1"/>
          </p:cNvGrpSpPr>
          <p:nvPr/>
        </p:nvGrpSpPr>
        <p:grpSpPr>
          <a:xfrm>
            <a:off x="212868" y="179810"/>
            <a:ext cx="528555" cy="606417"/>
            <a:chOff x="138052" y="51446"/>
            <a:chExt cx="773857" cy="887855"/>
          </a:xfrm>
        </p:grpSpPr>
        <p:sp>
          <p:nvSpPr>
            <p:cNvPr id="679" name="Oval 2"/>
            <p:cNvSpPr/>
            <p:nvPr/>
          </p:nvSpPr>
          <p:spPr bwMode="auto">
            <a:xfrm>
              <a:off x="138052" y="51446"/>
              <a:ext cx="773857" cy="535621"/>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54864" bIns="109728" numCol="1" spcCol="0" rtlCol="0" fromWordArt="0" anchor="b" anchorCtr="0" forceAA="0" compatLnSpc="1">
              <a:prstTxWarp prst="textNoShape">
                <a:avLst/>
              </a:prstTxWarp>
              <a:noAutofit/>
            </a:bodyPr>
            <a:lstStyle/>
            <a:p>
              <a:pPr algn="ctr" defTabSz="1096919" fontAlgn="base">
                <a:spcBef>
                  <a:spcPct val="0"/>
                </a:spcBef>
                <a:spcAft>
                  <a:spcPct val="0"/>
                </a:spcAft>
              </a:pPr>
              <a:endParaRPr lang="en-US" sz="2400" spc="-6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80" name="Group 679"/>
            <p:cNvGrpSpPr/>
            <p:nvPr/>
          </p:nvGrpSpPr>
          <p:grpSpPr>
            <a:xfrm rot="5400000" flipH="1">
              <a:off x="377724" y="550220"/>
              <a:ext cx="294513" cy="483650"/>
              <a:chOff x="1962769" y="3621398"/>
              <a:chExt cx="118187" cy="194087"/>
            </a:xfrm>
            <a:solidFill>
              <a:schemeClr val="bg1"/>
            </a:solidFill>
          </p:grpSpPr>
          <p:sp>
            <p:nvSpPr>
              <p:cNvPr id="681" name="Freeform 81"/>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2" name="Freeform 82"/>
              <p:cNvSpPr>
                <a:spLocks/>
              </p:cNvSpPr>
              <p:nvPr/>
            </p:nvSpPr>
            <p:spPr bwMode="auto">
              <a:xfrm>
                <a:off x="2051680" y="3679949"/>
                <a:ext cx="29276" cy="76985"/>
              </a:xfrm>
              <a:custGeom>
                <a:avLst/>
                <a:gdLst>
                  <a:gd name="T0" fmla="*/ 54 w 54"/>
                  <a:gd name="T1" fmla="*/ 142 h 142"/>
                  <a:gd name="T2" fmla="*/ 54 w 54"/>
                  <a:gd name="T3" fmla="*/ 142 h 142"/>
                  <a:gd name="T4" fmla="*/ 48 w 54"/>
                  <a:gd name="T5" fmla="*/ 134 h 142"/>
                  <a:gd name="T6" fmla="*/ 42 w 54"/>
                  <a:gd name="T7" fmla="*/ 126 h 142"/>
                  <a:gd name="T8" fmla="*/ 36 w 54"/>
                  <a:gd name="T9" fmla="*/ 119 h 142"/>
                  <a:gd name="T10" fmla="*/ 32 w 54"/>
                  <a:gd name="T11" fmla="*/ 110 h 142"/>
                  <a:gd name="T12" fmla="*/ 29 w 54"/>
                  <a:gd name="T13" fmla="*/ 101 h 142"/>
                  <a:gd name="T14" fmla="*/ 26 w 54"/>
                  <a:gd name="T15" fmla="*/ 90 h 142"/>
                  <a:gd name="T16" fmla="*/ 25 w 54"/>
                  <a:gd name="T17" fmla="*/ 81 h 142"/>
                  <a:gd name="T18" fmla="*/ 25 w 54"/>
                  <a:gd name="T19" fmla="*/ 71 h 142"/>
                  <a:gd name="T20" fmla="*/ 25 w 54"/>
                  <a:gd name="T21" fmla="*/ 61 h 142"/>
                  <a:gd name="T22" fmla="*/ 26 w 54"/>
                  <a:gd name="T23" fmla="*/ 52 h 142"/>
                  <a:gd name="T24" fmla="*/ 29 w 54"/>
                  <a:gd name="T25" fmla="*/ 41 h 142"/>
                  <a:gd name="T26" fmla="*/ 32 w 54"/>
                  <a:gd name="T27" fmla="*/ 32 h 142"/>
                  <a:gd name="T28" fmla="*/ 36 w 54"/>
                  <a:gd name="T29" fmla="*/ 23 h 142"/>
                  <a:gd name="T30" fmla="*/ 42 w 54"/>
                  <a:gd name="T31" fmla="*/ 14 h 142"/>
                  <a:gd name="T32" fmla="*/ 47 w 54"/>
                  <a:gd name="T33" fmla="*/ 6 h 142"/>
                  <a:gd name="T34" fmla="*/ 54 w 54"/>
                  <a:gd name="T35" fmla="*/ 0 h 142"/>
                  <a:gd name="T36" fmla="*/ 54 w 54"/>
                  <a:gd name="T37" fmla="*/ 0 h 142"/>
                  <a:gd name="T38" fmla="*/ 44 w 54"/>
                  <a:gd name="T39" fmla="*/ 3 h 142"/>
                  <a:gd name="T40" fmla="*/ 34 w 54"/>
                  <a:gd name="T41" fmla="*/ 8 h 142"/>
                  <a:gd name="T42" fmla="*/ 25 w 54"/>
                  <a:gd name="T43" fmla="*/ 14 h 142"/>
                  <a:gd name="T44" fmla="*/ 17 w 54"/>
                  <a:gd name="T45" fmla="*/ 23 h 142"/>
                  <a:gd name="T46" fmla="*/ 11 w 54"/>
                  <a:gd name="T47" fmla="*/ 33 h 142"/>
                  <a:gd name="T48" fmla="*/ 5 w 54"/>
                  <a:gd name="T49" fmla="*/ 45 h 142"/>
                  <a:gd name="T50" fmla="*/ 1 w 54"/>
                  <a:gd name="T51" fmla="*/ 58 h 142"/>
                  <a:gd name="T52" fmla="*/ 0 w 54"/>
                  <a:gd name="T53" fmla="*/ 71 h 142"/>
                  <a:gd name="T54" fmla="*/ 0 w 54"/>
                  <a:gd name="T55" fmla="*/ 71 h 142"/>
                  <a:gd name="T56" fmla="*/ 1 w 54"/>
                  <a:gd name="T57" fmla="*/ 84 h 142"/>
                  <a:gd name="T58" fmla="*/ 5 w 54"/>
                  <a:gd name="T59" fmla="*/ 97 h 142"/>
                  <a:gd name="T60" fmla="*/ 11 w 54"/>
                  <a:gd name="T61" fmla="*/ 108 h 142"/>
                  <a:gd name="T62" fmla="*/ 17 w 54"/>
                  <a:gd name="T63" fmla="*/ 117 h 142"/>
                  <a:gd name="T64" fmla="*/ 26 w 54"/>
                  <a:gd name="T65" fmla="*/ 126 h 142"/>
                  <a:gd name="T66" fmla="*/ 35 w 54"/>
                  <a:gd name="T67" fmla="*/ 134 h 142"/>
                  <a:gd name="T68" fmla="*/ 44 w 54"/>
                  <a:gd name="T69" fmla="*/ 139 h 142"/>
                  <a:gd name="T70" fmla="*/ 54 w 54"/>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2">
                    <a:moveTo>
                      <a:pt x="54" y="142"/>
                    </a:moveTo>
                    <a:lnTo>
                      <a:pt x="54" y="142"/>
                    </a:lnTo>
                    <a:lnTo>
                      <a:pt x="48" y="134"/>
                    </a:lnTo>
                    <a:lnTo>
                      <a:pt x="42" y="126"/>
                    </a:lnTo>
                    <a:lnTo>
                      <a:pt x="36" y="119"/>
                    </a:lnTo>
                    <a:lnTo>
                      <a:pt x="32" y="110"/>
                    </a:lnTo>
                    <a:lnTo>
                      <a:pt x="29" y="101"/>
                    </a:lnTo>
                    <a:lnTo>
                      <a:pt x="26" y="90"/>
                    </a:lnTo>
                    <a:lnTo>
                      <a:pt x="25" y="81"/>
                    </a:lnTo>
                    <a:lnTo>
                      <a:pt x="25" y="71"/>
                    </a:lnTo>
                    <a:lnTo>
                      <a:pt x="25" y="61"/>
                    </a:lnTo>
                    <a:lnTo>
                      <a:pt x="26" y="52"/>
                    </a:lnTo>
                    <a:lnTo>
                      <a:pt x="29" y="41"/>
                    </a:lnTo>
                    <a:lnTo>
                      <a:pt x="32" y="32"/>
                    </a:lnTo>
                    <a:lnTo>
                      <a:pt x="36" y="23"/>
                    </a:lnTo>
                    <a:lnTo>
                      <a:pt x="42" y="14"/>
                    </a:lnTo>
                    <a:lnTo>
                      <a:pt x="47" y="6"/>
                    </a:lnTo>
                    <a:lnTo>
                      <a:pt x="54" y="0"/>
                    </a:lnTo>
                    <a:lnTo>
                      <a:pt x="54" y="0"/>
                    </a:lnTo>
                    <a:lnTo>
                      <a:pt x="44" y="3"/>
                    </a:lnTo>
                    <a:lnTo>
                      <a:pt x="34" y="8"/>
                    </a:lnTo>
                    <a:lnTo>
                      <a:pt x="25" y="14"/>
                    </a:lnTo>
                    <a:lnTo>
                      <a:pt x="17" y="23"/>
                    </a:lnTo>
                    <a:lnTo>
                      <a:pt x="11" y="33"/>
                    </a:lnTo>
                    <a:lnTo>
                      <a:pt x="5" y="45"/>
                    </a:lnTo>
                    <a:lnTo>
                      <a:pt x="1" y="58"/>
                    </a:lnTo>
                    <a:lnTo>
                      <a:pt x="0" y="71"/>
                    </a:lnTo>
                    <a:lnTo>
                      <a:pt x="0" y="71"/>
                    </a:lnTo>
                    <a:lnTo>
                      <a:pt x="1" y="84"/>
                    </a:lnTo>
                    <a:lnTo>
                      <a:pt x="5" y="97"/>
                    </a:lnTo>
                    <a:lnTo>
                      <a:pt x="11" y="108"/>
                    </a:lnTo>
                    <a:lnTo>
                      <a:pt x="17" y="117"/>
                    </a:lnTo>
                    <a:lnTo>
                      <a:pt x="26" y="126"/>
                    </a:lnTo>
                    <a:lnTo>
                      <a:pt x="35" y="134"/>
                    </a:lnTo>
                    <a:lnTo>
                      <a:pt x="44" y="139"/>
                    </a:lnTo>
                    <a:lnTo>
                      <a:pt x="54" y="142"/>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7" name="Freeform 83"/>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8" name="Freeform 84"/>
              <p:cNvSpPr>
                <a:spLocks/>
              </p:cNvSpPr>
              <p:nvPr/>
            </p:nvSpPr>
            <p:spPr bwMode="auto">
              <a:xfrm>
                <a:off x="2010477" y="3651758"/>
                <a:ext cx="44456" cy="133367"/>
              </a:xfrm>
              <a:custGeom>
                <a:avLst/>
                <a:gdLst>
                  <a:gd name="T0" fmla="*/ 82 w 82"/>
                  <a:gd name="T1" fmla="*/ 246 h 246"/>
                  <a:gd name="T2" fmla="*/ 82 w 82"/>
                  <a:gd name="T3" fmla="*/ 246 h 246"/>
                  <a:gd name="T4" fmla="*/ 70 w 82"/>
                  <a:gd name="T5" fmla="*/ 233 h 246"/>
                  <a:gd name="T6" fmla="*/ 58 w 82"/>
                  <a:gd name="T7" fmla="*/ 219 h 246"/>
                  <a:gd name="T8" fmla="*/ 49 w 82"/>
                  <a:gd name="T9" fmla="*/ 204 h 246"/>
                  <a:gd name="T10" fmla="*/ 42 w 82"/>
                  <a:gd name="T11" fmla="*/ 189 h 246"/>
                  <a:gd name="T12" fmla="*/ 35 w 82"/>
                  <a:gd name="T13" fmla="*/ 173 h 246"/>
                  <a:gd name="T14" fmla="*/ 31 w 82"/>
                  <a:gd name="T15" fmla="*/ 157 h 246"/>
                  <a:gd name="T16" fmla="*/ 27 w 82"/>
                  <a:gd name="T17" fmla="*/ 140 h 246"/>
                  <a:gd name="T18" fmla="*/ 27 w 82"/>
                  <a:gd name="T19" fmla="*/ 123 h 246"/>
                  <a:gd name="T20" fmla="*/ 27 w 82"/>
                  <a:gd name="T21" fmla="*/ 123 h 246"/>
                  <a:gd name="T22" fmla="*/ 27 w 82"/>
                  <a:gd name="T23" fmla="*/ 106 h 246"/>
                  <a:gd name="T24" fmla="*/ 30 w 82"/>
                  <a:gd name="T25" fmla="*/ 89 h 246"/>
                  <a:gd name="T26" fmla="*/ 35 w 82"/>
                  <a:gd name="T27" fmla="*/ 73 h 246"/>
                  <a:gd name="T28" fmla="*/ 42 w 82"/>
                  <a:gd name="T29" fmla="*/ 57 h 246"/>
                  <a:gd name="T30" fmla="*/ 49 w 82"/>
                  <a:gd name="T31" fmla="*/ 42 h 246"/>
                  <a:gd name="T32" fmla="*/ 58 w 82"/>
                  <a:gd name="T33" fmla="*/ 27 h 246"/>
                  <a:gd name="T34" fmla="*/ 69 w 82"/>
                  <a:gd name="T35" fmla="*/ 13 h 246"/>
                  <a:gd name="T36" fmla="*/ 80 w 82"/>
                  <a:gd name="T37" fmla="*/ 0 h 246"/>
                  <a:gd name="T38" fmla="*/ 80 w 82"/>
                  <a:gd name="T39" fmla="*/ 0 h 246"/>
                  <a:gd name="T40" fmla="*/ 66 w 82"/>
                  <a:gd name="T41" fmla="*/ 7 h 246"/>
                  <a:gd name="T42" fmla="*/ 51 w 82"/>
                  <a:gd name="T43" fmla="*/ 17 h 246"/>
                  <a:gd name="T44" fmla="*/ 38 w 82"/>
                  <a:gd name="T45" fmla="*/ 30 h 246"/>
                  <a:gd name="T46" fmla="*/ 25 w 82"/>
                  <a:gd name="T47" fmla="*/ 44 h 246"/>
                  <a:gd name="T48" fmla="*/ 15 w 82"/>
                  <a:gd name="T49" fmla="*/ 62 h 246"/>
                  <a:gd name="T50" fmla="*/ 11 w 82"/>
                  <a:gd name="T51" fmla="*/ 71 h 246"/>
                  <a:gd name="T52" fmla="*/ 7 w 82"/>
                  <a:gd name="T53" fmla="*/ 80 h 246"/>
                  <a:gd name="T54" fmla="*/ 4 w 82"/>
                  <a:gd name="T55" fmla="*/ 91 h 246"/>
                  <a:gd name="T56" fmla="*/ 2 w 82"/>
                  <a:gd name="T57" fmla="*/ 101 h 246"/>
                  <a:gd name="T58" fmla="*/ 0 w 82"/>
                  <a:gd name="T59" fmla="*/ 113 h 246"/>
                  <a:gd name="T60" fmla="*/ 0 w 82"/>
                  <a:gd name="T61" fmla="*/ 123 h 246"/>
                  <a:gd name="T62" fmla="*/ 0 w 82"/>
                  <a:gd name="T63" fmla="*/ 123 h 246"/>
                  <a:gd name="T64" fmla="*/ 0 w 82"/>
                  <a:gd name="T65" fmla="*/ 135 h 246"/>
                  <a:gd name="T66" fmla="*/ 2 w 82"/>
                  <a:gd name="T67" fmla="*/ 145 h 246"/>
                  <a:gd name="T68" fmla="*/ 4 w 82"/>
                  <a:gd name="T69" fmla="*/ 155 h 246"/>
                  <a:gd name="T70" fmla="*/ 7 w 82"/>
                  <a:gd name="T71" fmla="*/ 166 h 246"/>
                  <a:gd name="T72" fmla="*/ 11 w 82"/>
                  <a:gd name="T73" fmla="*/ 175 h 246"/>
                  <a:gd name="T74" fmla="*/ 15 w 82"/>
                  <a:gd name="T75" fmla="*/ 184 h 246"/>
                  <a:gd name="T76" fmla="*/ 25 w 82"/>
                  <a:gd name="T77" fmla="*/ 202 h 246"/>
                  <a:gd name="T78" fmla="*/ 38 w 82"/>
                  <a:gd name="T79" fmla="*/ 216 h 246"/>
                  <a:gd name="T80" fmla="*/ 52 w 82"/>
                  <a:gd name="T81" fmla="*/ 229 h 246"/>
                  <a:gd name="T82" fmla="*/ 66 w 82"/>
                  <a:gd name="T83" fmla="*/ 238 h 246"/>
                  <a:gd name="T84" fmla="*/ 82 w 82"/>
                  <a:gd name="T8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246">
                    <a:moveTo>
                      <a:pt x="82" y="246"/>
                    </a:moveTo>
                    <a:lnTo>
                      <a:pt x="82" y="246"/>
                    </a:lnTo>
                    <a:lnTo>
                      <a:pt x="70" y="233"/>
                    </a:lnTo>
                    <a:lnTo>
                      <a:pt x="58" y="219"/>
                    </a:lnTo>
                    <a:lnTo>
                      <a:pt x="49" y="204"/>
                    </a:lnTo>
                    <a:lnTo>
                      <a:pt x="42" y="189"/>
                    </a:lnTo>
                    <a:lnTo>
                      <a:pt x="35" y="173"/>
                    </a:lnTo>
                    <a:lnTo>
                      <a:pt x="31" y="157"/>
                    </a:lnTo>
                    <a:lnTo>
                      <a:pt x="27" y="140"/>
                    </a:lnTo>
                    <a:lnTo>
                      <a:pt x="27" y="123"/>
                    </a:lnTo>
                    <a:lnTo>
                      <a:pt x="27" y="123"/>
                    </a:lnTo>
                    <a:lnTo>
                      <a:pt x="27" y="106"/>
                    </a:lnTo>
                    <a:lnTo>
                      <a:pt x="30" y="89"/>
                    </a:lnTo>
                    <a:lnTo>
                      <a:pt x="35" y="73"/>
                    </a:lnTo>
                    <a:lnTo>
                      <a:pt x="42" y="57"/>
                    </a:lnTo>
                    <a:lnTo>
                      <a:pt x="49" y="42"/>
                    </a:lnTo>
                    <a:lnTo>
                      <a:pt x="58" y="27"/>
                    </a:lnTo>
                    <a:lnTo>
                      <a:pt x="69" y="13"/>
                    </a:lnTo>
                    <a:lnTo>
                      <a:pt x="80" y="0"/>
                    </a:lnTo>
                    <a:lnTo>
                      <a:pt x="80" y="0"/>
                    </a:lnTo>
                    <a:lnTo>
                      <a:pt x="66" y="7"/>
                    </a:lnTo>
                    <a:lnTo>
                      <a:pt x="51" y="17"/>
                    </a:lnTo>
                    <a:lnTo>
                      <a:pt x="38" y="30"/>
                    </a:lnTo>
                    <a:lnTo>
                      <a:pt x="25" y="44"/>
                    </a:lnTo>
                    <a:lnTo>
                      <a:pt x="15" y="62"/>
                    </a:lnTo>
                    <a:lnTo>
                      <a:pt x="11" y="71"/>
                    </a:lnTo>
                    <a:lnTo>
                      <a:pt x="7" y="80"/>
                    </a:lnTo>
                    <a:lnTo>
                      <a:pt x="4" y="91"/>
                    </a:lnTo>
                    <a:lnTo>
                      <a:pt x="2" y="101"/>
                    </a:lnTo>
                    <a:lnTo>
                      <a:pt x="0" y="113"/>
                    </a:lnTo>
                    <a:lnTo>
                      <a:pt x="0" y="123"/>
                    </a:lnTo>
                    <a:lnTo>
                      <a:pt x="0" y="123"/>
                    </a:lnTo>
                    <a:lnTo>
                      <a:pt x="0" y="135"/>
                    </a:lnTo>
                    <a:lnTo>
                      <a:pt x="2" y="145"/>
                    </a:lnTo>
                    <a:lnTo>
                      <a:pt x="4" y="155"/>
                    </a:lnTo>
                    <a:lnTo>
                      <a:pt x="7" y="166"/>
                    </a:lnTo>
                    <a:lnTo>
                      <a:pt x="11" y="175"/>
                    </a:lnTo>
                    <a:lnTo>
                      <a:pt x="15" y="184"/>
                    </a:lnTo>
                    <a:lnTo>
                      <a:pt x="25" y="202"/>
                    </a:lnTo>
                    <a:lnTo>
                      <a:pt x="38" y="216"/>
                    </a:lnTo>
                    <a:lnTo>
                      <a:pt x="52" y="229"/>
                    </a:lnTo>
                    <a:lnTo>
                      <a:pt x="66" y="238"/>
                    </a:lnTo>
                    <a:lnTo>
                      <a:pt x="82" y="246"/>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2" name="Freeform 85"/>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3" name="Freeform 86"/>
              <p:cNvSpPr>
                <a:spLocks/>
              </p:cNvSpPr>
              <p:nvPr/>
            </p:nvSpPr>
            <p:spPr bwMode="auto">
              <a:xfrm>
                <a:off x="1962769" y="3621398"/>
                <a:ext cx="56383" cy="194087"/>
              </a:xfrm>
              <a:custGeom>
                <a:avLst/>
                <a:gdLst>
                  <a:gd name="T0" fmla="*/ 104 w 105"/>
                  <a:gd name="T1" fmla="*/ 0 h 359"/>
                  <a:gd name="T2" fmla="*/ 104 w 105"/>
                  <a:gd name="T3" fmla="*/ 0 h 359"/>
                  <a:gd name="T4" fmla="*/ 93 w 105"/>
                  <a:gd name="T5" fmla="*/ 6 h 359"/>
                  <a:gd name="T6" fmla="*/ 84 w 105"/>
                  <a:gd name="T7" fmla="*/ 12 h 359"/>
                  <a:gd name="T8" fmla="*/ 74 w 105"/>
                  <a:gd name="T9" fmla="*/ 20 h 359"/>
                  <a:gd name="T10" fmla="*/ 65 w 105"/>
                  <a:gd name="T11" fmla="*/ 28 h 359"/>
                  <a:gd name="T12" fmla="*/ 56 w 105"/>
                  <a:gd name="T13" fmla="*/ 37 h 359"/>
                  <a:gd name="T14" fmla="*/ 47 w 105"/>
                  <a:gd name="T15" fmla="*/ 47 h 359"/>
                  <a:gd name="T16" fmla="*/ 39 w 105"/>
                  <a:gd name="T17" fmla="*/ 57 h 359"/>
                  <a:gd name="T18" fmla="*/ 31 w 105"/>
                  <a:gd name="T19" fmla="*/ 69 h 359"/>
                  <a:gd name="T20" fmla="*/ 23 w 105"/>
                  <a:gd name="T21" fmla="*/ 81 h 359"/>
                  <a:gd name="T22" fmla="*/ 18 w 105"/>
                  <a:gd name="T23" fmla="*/ 93 h 359"/>
                  <a:gd name="T24" fmla="*/ 12 w 105"/>
                  <a:gd name="T25" fmla="*/ 108 h 359"/>
                  <a:gd name="T26" fmla="*/ 8 w 105"/>
                  <a:gd name="T27" fmla="*/ 121 h 359"/>
                  <a:gd name="T28" fmla="*/ 4 w 105"/>
                  <a:gd name="T29" fmla="*/ 135 h 359"/>
                  <a:gd name="T30" fmla="*/ 1 w 105"/>
                  <a:gd name="T31" fmla="*/ 150 h 359"/>
                  <a:gd name="T32" fmla="*/ 0 w 105"/>
                  <a:gd name="T33" fmla="*/ 164 h 359"/>
                  <a:gd name="T34" fmla="*/ 0 w 105"/>
                  <a:gd name="T35" fmla="*/ 180 h 359"/>
                  <a:gd name="T36" fmla="*/ 0 w 105"/>
                  <a:gd name="T37" fmla="*/ 180 h 359"/>
                  <a:gd name="T38" fmla="*/ 0 w 105"/>
                  <a:gd name="T39" fmla="*/ 195 h 359"/>
                  <a:gd name="T40" fmla="*/ 1 w 105"/>
                  <a:gd name="T41" fmla="*/ 211 h 359"/>
                  <a:gd name="T42" fmla="*/ 4 w 105"/>
                  <a:gd name="T43" fmla="*/ 225 h 359"/>
                  <a:gd name="T44" fmla="*/ 8 w 105"/>
                  <a:gd name="T45" fmla="*/ 239 h 359"/>
                  <a:gd name="T46" fmla="*/ 13 w 105"/>
                  <a:gd name="T47" fmla="*/ 254 h 359"/>
                  <a:gd name="T48" fmla="*/ 18 w 105"/>
                  <a:gd name="T49" fmla="*/ 266 h 359"/>
                  <a:gd name="T50" fmla="*/ 25 w 105"/>
                  <a:gd name="T51" fmla="*/ 279 h 359"/>
                  <a:gd name="T52" fmla="*/ 31 w 105"/>
                  <a:gd name="T53" fmla="*/ 291 h 359"/>
                  <a:gd name="T54" fmla="*/ 39 w 105"/>
                  <a:gd name="T55" fmla="*/ 303 h 359"/>
                  <a:gd name="T56" fmla="*/ 48 w 105"/>
                  <a:gd name="T57" fmla="*/ 313 h 359"/>
                  <a:gd name="T58" fmla="*/ 56 w 105"/>
                  <a:gd name="T59" fmla="*/ 323 h 359"/>
                  <a:gd name="T60" fmla="*/ 66 w 105"/>
                  <a:gd name="T61" fmla="*/ 332 h 359"/>
                  <a:gd name="T62" fmla="*/ 75 w 105"/>
                  <a:gd name="T63" fmla="*/ 340 h 359"/>
                  <a:gd name="T64" fmla="*/ 85 w 105"/>
                  <a:gd name="T65" fmla="*/ 348 h 359"/>
                  <a:gd name="T66" fmla="*/ 94 w 105"/>
                  <a:gd name="T67" fmla="*/ 354 h 359"/>
                  <a:gd name="T68" fmla="*/ 105 w 105"/>
                  <a:gd name="T69" fmla="*/ 359 h 359"/>
                  <a:gd name="T70" fmla="*/ 105 w 105"/>
                  <a:gd name="T71" fmla="*/ 359 h 359"/>
                  <a:gd name="T72" fmla="*/ 88 w 105"/>
                  <a:gd name="T73" fmla="*/ 341 h 359"/>
                  <a:gd name="T74" fmla="*/ 74 w 105"/>
                  <a:gd name="T75" fmla="*/ 321 h 359"/>
                  <a:gd name="T76" fmla="*/ 61 w 105"/>
                  <a:gd name="T77" fmla="*/ 300 h 359"/>
                  <a:gd name="T78" fmla="*/ 51 w 105"/>
                  <a:gd name="T79" fmla="*/ 277 h 359"/>
                  <a:gd name="T80" fmla="*/ 42 w 105"/>
                  <a:gd name="T81" fmla="*/ 254 h 359"/>
                  <a:gd name="T82" fmla="*/ 35 w 105"/>
                  <a:gd name="T83" fmla="*/ 230 h 359"/>
                  <a:gd name="T84" fmla="*/ 32 w 105"/>
                  <a:gd name="T85" fmla="*/ 206 h 359"/>
                  <a:gd name="T86" fmla="*/ 31 w 105"/>
                  <a:gd name="T87" fmla="*/ 180 h 359"/>
                  <a:gd name="T88" fmla="*/ 31 w 105"/>
                  <a:gd name="T89" fmla="*/ 180 h 359"/>
                  <a:gd name="T90" fmla="*/ 31 w 105"/>
                  <a:gd name="T91" fmla="*/ 155 h 359"/>
                  <a:gd name="T92" fmla="*/ 35 w 105"/>
                  <a:gd name="T93" fmla="*/ 131 h 359"/>
                  <a:gd name="T94" fmla="*/ 42 w 105"/>
                  <a:gd name="T95" fmla="*/ 106 h 359"/>
                  <a:gd name="T96" fmla="*/ 49 w 105"/>
                  <a:gd name="T97" fmla="*/ 83 h 359"/>
                  <a:gd name="T98" fmla="*/ 60 w 105"/>
                  <a:gd name="T99" fmla="*/ 61 h 359"/>
                  <a:gd name="T100" fmla="*/ 73 w 105"/>
                  <a:gd name="T101" fmla="*/ 39 h 359"/>
                  <a:gd name="T102" fmla="*/ 87 w 105"/>
                  <a:gd name="T103" fmla="*/ 20 h 359"/>
                  <a:gd name="T104" fmla="*/ 104 w 105"/>
                  <a:gd name="T10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359">
                    <a:moveTo>
                      <a:pt x="104" y="0"/>
                    </a:moveTo>
                    <a:lnTo>
                      <a:pt x="104" y="0"/>
                    </a:lnTo>
                    <a:lnTo>
                      <a:pt x="93" y="6"/>
                    </a:lnTo>
                    <a:lnTo>
                      <a:pt x="84" y="12"/>
                    </a:lnTo>
                    <a:lnTo>
                      <a:pt x="74" y="20"/>
                    </a:lnTo>
                    <a:lnTo>
                      <a:pt x="65" y="28"/>
                    </a:lnTo>
                    <a:lnTo>
                      <a:pt x="56" y="37"/>
                    </a:lnTo>
                    <a:lnTo>
                      <a:pt x="47" y="47"/>
                    </a:lnTo>
                    <a:lnTo>
                      <a:pt x="39" y="57"/>
                    </a:lnTo>
                    <a:lnTo>
                      <a:pt x="31" y="69"/>
                    </a:lnTo>
                    <a:lnTo>
                      <a:pt x="23" y="81"/>
                    </a:lnTo>
                    <a:lnTo>
                      <a:pt x="18" y="93"/>
                    </a:lnTo>
                    <a:lnTo>
                      <a:pt x="12" y="108"/>
                    </a:lnTo>
                    <a:lnTo>
                      <a:pt x="8" y="121"/>
                    </a:lnTo>
                    <a:lnTo>
                      <a:pt x="4" y="135"/>
                    </a:lnTo>
                    <a:lnTo>
                      <a:pt x="1" y="150"/>
                    </a:lnTo>
                    <a:lnTo>
                      <a:pt x="0" y="164"/>
                    </a:lnTo>
                    <a:lnTo>
                      <a:pt x="0" y="180"/>
                    </a:lnTo>
                    <a:lnTo>
                      <a:pt x="0" y="180"/>
                    </a:lnTo>
                    <a:lnTo>
                      <a:pt x="0" y="195"/>
                    </a:lnTo>
                    <a:lnTo>
                      <a:pt x="1" y="211"/>
                    </a:lnTo>
                    <a:lnTo>
                      <a:pt x="4" y="225"/>
                    </a:lnTo>
                    <a:lnTo>
                      <a:pt x="8" y="239"/>
                    </a:lnTo>
                    <a:lnTo>
                      <a:pt x="13" y="254"/>
                    </a:lnTo>
                    <a:lnTo>
                      <a:pt x="18" y="266"/>
                    </a:lnTo>
                    <a:lnTo>
                      <a:pt x="25" y="279"/>
                    </a:lnTo>
                    <a:lnTo>
                      <a:pt x="31" y="291"/>
                    </a:lnTo>
                    <a:lnTo>
                      <a:pt x="39" y="303"/>
                    </a:lnTo>
                    <a:lnTo>
                      <a:pt x="48" y="313"/>
                    </a:lnTo>
                    <a:lnTo>
                      <a:pt x="56" y="323"/>
                    </a:lnTo>
                    <a:lnTo>
                      <a:pt x="66" y="332"/>
                    </a:lnTo>
                    <a:lnTo>
                      <a:pt x="75" y="340"/>
                    </a:lnTo>
                    <a:lnTo>
                      <a:pt x="85" y="348"/>
                    </a:lnTo>
                    <a:lnTo>
                      <a:pt x="94" y="354"/>
                    </a:lnTo>
                    <a:lnTo>
                      <a:pt x="105" y="359"/>
                    </a:lnTo>
                    <a:lnTo>
                      <a:pt x="105" y="359"/>
                    </a:lnTo>
                    <a:lnTo>
                      <a:pt x="88" y="341"/>
                    </a:lnTo>
                    <a:lnTo>
                      <a:pt x="74" y="321"/>
                    </a:lnTo>
                    <a:lnTo>
                      <a:pt x="61" y="300"/>
                    </a:lnTo>
                    <a:lnTo>
                      <a:pt x="51" y="277"/>
                    </a:lnTo>
                    <a:lnTo>
                      <a:pt x="42" y="254"/>
                    </a:lnTo>
                    <a:lnTo>
                      <a:pt x="35" y="230"/>
                    </a:lnTo>
                    <a:lnTo>
                      <a:pt x="32" y="206"/>
                    </a:lnTo>
                    <a:lnTo>
                      <a:pt x="31" y="180"/>
                    </a:lnTo>
                    <a:lnTo>
                      <a:pt x="31" y="180"/>
                    </a:lnTo>
                    <a:lnTo>
                      <a:pt x="31" y="155"/>
                    </a:lnTo>
                    <a:lnTo>
                      <a:pt x="35" y="131"/>
                    </a:lnTo>
                    <a:lnTo>
                      <a:pt x="42" y="106"/>
                    </a:lnTo>
                    <a:lnTo>
                      <a:pt x="49" y="83"/>
                    </a:lnTo>
                    <a:lnTo>
                      <a:pt x="60" y="61"/>
                    </a:lnTo>
                    <a:lnTo>
                      <a:pt x="73" y="39"/>
                    </a:lnTo>
                    <a:lnTo>
                      <a:pt x="87" y="20"/>
                    </a:lnTo>
                    <a:lnTo>
                      <a:pt x="104"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72" name="Rectangle 371"/>
          <p:cNvSpPr/>
          <p:nvPr/>
        </p:nvSpPr>
        <p:spPr bwMode="auto">
          <a:xfrm>
            <a:off x="10017076" y="1871199"/>
            <a:ext cx="1928863" cy="4605482"/>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1166" name="Group 1165"/>
          <p:cNvGrpSpPr/>
          <p:nvPr/>
        </p:nvGrpSpPr>
        <p:grpSpPr>
          <a:xfrm>
            <a:off x="10017075" y="3342937"/>
            <a:ext cx="1923541" cy="1626721"/>
            <a:chOff x="161401" y="1932654"/>
            <a:chExt cx="1761072" cy="1626721"/>
          </a:xfrm>
        </p:grpSpPr>
        <p:grpSp>
          <p:nvGrpSpPr>
            <p:cNvPr id="1167" name="Group 1166"/>
            <p:cNvGrpSpPr/>
            <p:nvPr/>
          </p:nvGrpSpPr>
          <p:grpSpPr>
            <a:xfrm>
              <a:off x="161401" y="3250919"/>
              <a:ext cx="1761072" cy="308456"/>
              <a:chOff x="3900492" y="3987329"/>
              <a:chExt cx="4849648" cy="308456"/>
            </a:xfrm>
          </p:grpSpPr>
          <p:sp>
            <p:nvSpPr>
              <p:cNvPr id="1172" name="Rectangle 1171"/>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73" name="Trapezoid 1172"/>
              <p:cNvSpPr/>
              <p:nvPr/>
            </p:nvSpPr>
            <p:spPr bwMode="auto">
              <a:xfrm>
                <a:off x="4016909" y="3987329"/>
                <a:ext cx="4634337" cy="262428"/>
              </a:xfrm>
              <a:prstGeom prst="trapezoid">
                <a:avLst>
                  <a:gd name="adj" fmla="val 9615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nvGrpSpPr>
            <p:cNvPr id="1168" name="Group 1167"/>
            <p:cNvGrpSpPr/>
            <p:nvPr/>
          </p:nvGrpSpPr>
          <p:grpSpPr>
            <a:xfrm>
              <a:off x="199444" y="1932654"/>
              <a:ext cx="1691879" cy="1585516"/>
              <a:chOff x="114794" y="583668"/>
              <a:chExt cx="3534424" cy="3543633"/>
            </a:xfrm>
          </p:grpSpPr>
          <p:sp>
            <p:nvSpPr>
              <p:cNvPr id="1169" name="Rectangle 1168"/>
              <p:cNvSpPr/>
              <p:nvPr/>
            </p:nvSpPr>
            <p:spPr bwMode="auto">
              <a:xfrm>
                <a:off x="607549"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70"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71"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sp>
        <p:nvSpPr>
          <p:cNvPr id="549" name="Rectangle 548"/>
          <p:cNvSpPr/>
          <p:nvPr/>
        </p:nvSpPr>
        <p:spPr>
          <a:xfrm>
            <a:off x="10679858" y="1318992"/>
            <a:ext cx="1025171" cy="430887"/>
          </a:xfrm>
          <a:prstGeom prst="rect">
            <a:avLst/>
          </a:prstGeom>
        </p:spPr>
        <p:txBody>
          <a:bodyPr wrap="none">
            <a:spAutoFit/>
          </a:bodyPr>
          <a:lstStyle/>
          <a:p>
            <a:r>
              <a:rPr lang="en-US" sz="1100" dirty="0">
                <a:solidFill>
                  <a:srgbClr val="FFFFFF"/>
                </a:solidFill>
              </a:rPr>
              <a:t>GLOBAL </a:t>
            </a:r>
            <a:br>
              <a:rPr lang="en-US" sz="1100" dirty="0">
                <a:solidFill>
                  <a:srgbClr val="FFFFFF"/>
                </a:solidFill>
              </a:rPr>
            </a:br>
            <a:r>
              <a:rPr lang="en-US" sz="1100" dirty="0">
                <a:solidFill>
                  <a:srgbClr val="FFFFFF"/>
                </a:solidFill>
              </a:rPr>
              <a:t>OPERATIONS</a:t>
            </a:r>
          </a:p>
        </p:txBody>
      </p:sp>
      <p:cxnSp>
        <p:nvCxnSpPr>
          <p:cNvPr id="663" name="Straight Connector 662"/>
          <p:cNvCxnSpPr/>
          <p:nvPr/>
        </p:nvCxnSpPr>
        <p:spPr>
          <a:xfrm flipV="1">
            <a:off x="10435776" y="1723459"/>
            <a:ext cx="0" cy="134104"/>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72" name="Rectangle 671"/>
          <p:cNvSpPr/>
          <p:nvPr/>
        </p:nvSpPr>
        <p:spPr bwMode="auto">
          <a:xfrm>
            <a:off x="10080011" y="1425402"/>
            <a:ext cx="142786" cy="184151"/>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73" name="Rectangle 672"/>
          <p:cNvSpPr/>
          <p:nvPr/>
        </p:nvSpPr>
        <p:spPr bwMode="auto">
          <a:xfrm>
            <a:off x="10288402" y="1451643"/>
            <a:ext cx="142786" cy="149585"/>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74" name="Rectangle 673"/>
          <p:cNvSpPr/>
          <p:nvPr/>
        </p:nvSpPr>
        <p:spPr bwMode="auto">
          <a:xfrm>
            <a:off x="10491133" y="1319427"/>
            <a:ext cx="142786" cy="291961"/>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75" name="Rectangle 73"/>
          <p:cNvSpPr/>
          <p:nvPr/>
        </p:nvSpPr>
        <p:spPr bwMode="auto">
          <a:xfrm rot="5400000">
            <a:off x="10137831" y="1199568"/>
            <a:ext cx="443930" cy="599530"/>
          </a:xfrm>
          <a:custGeom>
            <a:avLst/>
            <a:gdLst/>
            <a:ahLst/>
            <a:cxnLst/>
            <a:rect l="l" t="t" r="r" b="b"/>
            <a:pathLst>
              <a:path w="1906013" h="2081213">
                <a:moveTo>
                  <a:pt x="1447225" y="473849"/>
                </a:moveTo>
                <a:lnTo>
                  <a:pt x="1906012" y="473849"/>
                </a:lnTo>
                <a:lnTo>
                  <a:pt x="1906012" y="225142"/>
                </a:lnTo>
                <a:lnTo>
                  <a:pt x="1447225" y="225142"/>
                </a:lnTo>
                <a:close/>
                <a:moveTo>
                  <a:pt x="1256359" y="1719312"/>
                </a:moveTo>
                <a:lnTo>
                  <a:pt x="1375231" y="1719312"/>
                </a:lnTo>
                <a:lnTo>
                  <a:pt x="1375231" y="1534257"/>
                </a:lnTo>
                <a:lnTo>
                  <a:pt x="1256359" y="1534257"/>
                </a:lnTo>
                <a:close/>
                <a:moveTo>
                  <a:pt x="1256359" y="1956654"/>
                </a:moveTo>
                <a:lnTo>
                  <a:pt x="1375231" y="1956654"/>
                </a:lnTo>
                <a:lnTo>
                  <a:pt x="1375231" y="1771599"/>
                </a:lnTo>
                <a:lnTo>
                  <a:pt x="1256359" y="1771599"/>
                </a:lnTo>
                <a:close/>
                <a:moveTo>
                  <a:pt x="1250439" y="315966"/>
                </a:moveTo>
                <a:lnTo>
                  <a:pt x="1369311" y="315966"/>
                </a:lnTo>
                <a:lnTo>
                  <a:pt x="1369311" y="130911"/>
                </a:lnTo>
                <a:lnTo>
                  <a:pt x="1250439" y="130911"/>
                </a:lnTo>
                <a:close/>
                <a:moveTo>
                  <a:pt x="1250439" y="553308"/>
                </a:moveTo>
                <a:lnTo>
                  <a:pt x="1369311" y="553308"/>
                </a:lnTo>
                <a:lnTo>
                  <a:pt x="1369311" y="368253"/>
                </a:lnTo>
                <a:lnTo>
                  <a:pt x="1250439" y="368253"/>
                </a:lnTo>
                <a:close/>
                <a:moveTo>
                  <a:pt x="1242568" y="1014462"/>
                </a:moveTo>
                <a:lnTo>
                  <a:pt x="1361440" y="1014462"/>
                </a:lnTo>
                <a:lnTo>
                  <a:pt x="1361440" y="829407"/>
                </a:lnTo>
                <a:lnTo>
                  <a:pt x="1242568" y="829407"/>
                </a:lnTo>
                <a:close/>
                <a:moveTo>
                  <a:pt x="1242568" y="1251804"/>
                </a:moveTo>
                <a:lnTo>
                  <a:pt x="1361440" y="1251804"/>
                </a:lnTo>
                <a:lnTo>
                  <a:pt x="1361440" y="1066749"/>
                </a:lnTo>
                <a:lnTo>
                  <a:pt x="1242568" y="1066749"/>
                </a:lnTo>
                <a:close/>
                <a:moveTo>
                  <a:pt x="1052142" y="1719312"/>
                </a:moveTo>
                <a:lnTo>
                  <a:pt x="1171014" y="1719312"/>
                </a:lnTo>
                <a:lnTo>
                  <a:pt x="1171014" y="1534257"/>
                </a:lnTo>
                <a:lnTo>
                  <a:pt x="1052142" y="1534257"/>
                </a:lnTo>
                <a:close/>
                <a:moveTo>
                  <a:pt x="1052142" y="1956654"/>
                </a:moveTo>
                <a:lnTo>
                  <a:pt x="1171014" y="1956654"/>
                </a:lnTo>
                <a:lnTo>
                  <a:pt x="1171014" y="1771599"/>
                </a:lnTo>
                <a:lnTo>
                  <a:pt x="1052142" y="1771599"/>
                </a:lnTo>
                <a:close/>
                <a:moveTo>
                  <a:pt x="1040908" y="315966"/>
                </a:moveTo>
                <a:lnTo>
                  <a:pt x="1159780" y="315966"/>
                </a:lnTo>
                <a:lnTo>
                  <a:pt x="1159780" y="130911"/>
                </a:lnTo>
                <a:lnTo>
                  <a:pt x="1040908" y="130911"/>
                </a:lnTo>
                <a:close/>
                <a:moveTo>
                  <a:pt x="1040908" y="553308"/>
                </a:moveTo>
                <a:lnTo>
                  <a:pt x="1159780" y="553308"/>
                </a:lnTo>
                <a:lnTo>
                  <a:pt x="1159780" y="368253"/>
                </a:lnTo>
                <a:lnTo>
                  <a:pt x="1040908" y="368253"/>
                </a:lnTo>
                <a:close/>
                <a:moveTo>
                  <a:pt x="1038352" y="1014462"/>
                </a:moveTo>
                <a:lnTo>
                  <a:pt x="1157224" y="1014462"/>
                </a:lnTo>
                <a:lnTo>
                  <a:pt x="1157224" y="829407"/>
                </a:lnTo>
                <a:lnTo>
                  <a:pt x="1038352" y="829407"/>
                </a:lnTo>
                <a:close/>
                <a:moveTo>
                  <a:pt x="1038352" y="1251804"/>
                </a:moveTo>
                <a:lnTo>
                  <a:pt x="1157224" y="1251804"/>
                </a:lnTo>
                <a:lnTo>
                  <a:pt x="1157224" y="1066749"/>
                </a:lnTo>
                <a:lnTo>
                  <a:pt x="1038352" y="1066749"/>
                </a:lnTo>
                <a:close/>
                <a:moveTo>
                  <a:pt x="847926" y="1719312"/>
                </a:moveTo>
                <a:lnTo>
                  <a:pt x="966798" y="1719312"/>
                </a:lnTo>
                <a:lnTo>
                  <a:pt x="966798" y="1534257"/>
                </a:lnTo>
                <a:lnTo>
                  <a:pt x="847926" y="1534257"/>
                </a:lnTo>
                <a:close/>
                <a:moveTo>
                  <a:pt x="847926" y="1956654"/>
                </a:moveTo>
                <a:lnTo>
                  <a:pt x="966798" y="1956654"/>
                </a:lnTo>
                <a:lnTo>
                  <a:pt x="966798" y="1771599"/>
                </a:lnTo>
                <a:lnTo>
                  <a:pt x="847926" y="1771599"/>
                </a:lnTo>
                <a:close/>
                <a:moveTo>
                  <a:pt x="834136" y="1014462"/>
                </a:moveTo>
                <a:lnTo>
                  <a:pt x="953008" y="1014462"/>
                </a:lnTo>
                <a:lnTo>
                  <a:pt x="953008" y="829407"/>
                </a:lnTo>
                <a:lnTo>
                  <a:pt x="834136" y="829407"/>
                </a:lnTo>
                <a:close/>
                <a:moveTo>
                  <a:pt x="834136" y="1251804"/>
                </a:moveTo>
                <a:lnTo>
                  <a:pt x="953008" y="1251804"/>
                </a:lnTo>
                <a:lnTo>
                  <a:pt x="953008" y="1066749"/>
                </a:lnTo>
                <a:lnTo>
                  <a:pt x="834136" y="1066749"/>
                </a:lnTo>
                <a:close/>
                <a:moveTo>
                  <a:pt x="831377" y="315966"/>
                </a:moveTo>
                <a:lnTo>
                  <a:pt x="950249" y="315966"/>
                </a:lnTo>
                <a:lnTo>
                  <a:pt x="950249" y="130911"/>
                </a:lnTo>
                <a:lnTo>
                  <a:pt x="831377" y="130911"/>
                </a:lnTo>
                <a:close/>
                <a:moveTo>
                  <a:pt x="831377" y="553308"/>
                </a:moveTo>
                <a:lnTo>
                  <a:pt x="950249" y="553308"/>
                </a:lnTo>
                <a:lnTo>
                  <a:pt x="950249" y="368253"/>
                </a:lnTo>
                <a:lnTo>
                  <a:pt x="831377" y="368253"/>
                </a:lnTo>
                <a:close/>
                <a:moveTo>
                  <a:pt x="737560" y="1376363"/>
                </a:moveTo>
                <a:lnTo>
                  <a:pt x="737560" y="704850"/>
                </a:lnTo>
                <a:lnTo>
                  <a:pt x="1906013" y="704850"/>
                </a:lnTo>
                <a:lnTo>
                  <a:pt x="1906013" y="916252"/>
                </a:lnTo>
                <a:lnTo>
                  <a:pt x="1447226" y="916252"/>
                </a:lnTo>
                <a:lnTo>
                  <a:pt x="1447226" y="1164960"/>
                </a:lnTo>
                <a:lnTo>
                  <a:pt x="1906013" y="1164960"/>
                </a:lnTo>
                <a:lnTo>
                  <a:pt x="1906013" y="1376363"/>
                </a:lnTo>
                <a:close/>
                <a:moveTo>
                  <a:pt x="643710" y="1719312"/>
                </a:moveTo>
                <a:lnTo>
                  <a:pt x="762582" y="1719312"/>
                </a:lnTo>
                <a:lnTo>
                  <a:pt x="762582" y="1534257"/>
                </a:lnTo>
                <a:lnTo>
                  <a:pt x="643710" y="1534257"/>
                </a:lnTo>
                <a:close/>
                <a:moveTo>
                  <a:pt x="643710" y="1956654"/>
                </a:moveTo>
                <a:lnTo>
                  <a:pt x="762582" y="1956654"/>
                </a:lnTo>
                <a:lnTo>
                  <a:pt x="762582" y="1771599"/>
                </a:lnTo>
                <a:lnTo>
                  <a:pt x="643710" y="1771599"/>
                </a:lnTo>
                <a:close/>
                <a:moveTo>
                  <a:pt x="621846" y="315966"/>
                </a:moveTo>
                <a:lnTo>
                  <a:pt x="740718" y="315966"/>
                </a:lnTo>
                <a:lnTo>
                  <a:pt x="740718" y="130911"/>
                </a:lnTo>
                <a:lnTo>
                  <a:pt x="621846" y="130911"/>
                </a:lnTo>
                <a:close/>
                <a:moveTo>
                  <a:pt x="621846" y="553308"/>
                </a:moveTo>
                <a:lnTo>
                  <a:pt x="740718" y="553308"/>
                </a:lnTo>
                <a:lnTo>
                  <a:pt x="740718" y="368253"/>
                </a:lnTo>
                <a:lnTo>
                  <a:pt x="621846" y="368253"/>
                </a:lnTo>
                <a:close/>
                <a:moveTo>
                  <a:pt x="467686" y="2081213"/>
                </a:moveTo>
                <a:lnTo>
                  <a:pt x="467686" y="1409701"/>
                </a:lnTo>
                <a:lnTo>
                  <a:pt x="1906013" y="1409701"/>
                </a:lnTo>
                <a:lnTo>
                  <a:pt x="1906013" y="1621103"/>
                </a:lnTo>
                <a:lnTo>
                  <a:pt x="1447226" y="1621103"/>
                </a:lnTo>
                <a:lnTo>
                  <a:pt x="1447226" y="1869810"/>
                </a:lnTo>
                <a:lnTo>
                  <a:pt x="1906013" y="1869810"/>
                </a:lnTo>
                <a:lnTo>
                  <a:pt x="1906013" y="2081213"/>
                </a:lnTo>
                <a:close/>
                <a:moveTo>
                  <a:pt x="412315" y="315966"/>
                </a:moveTo>
                <a:lnTo>
                  <a:pt x="531187" y="315966"/>
                </a:lnTo>
                <a:lnTo>
                  <a:pt x="531187" y="130911"/>
                </a:lnTo>
                <a:lnTo>
                  <a:pt x="412315" y="130911"/>
                </a:lnTo>
                <a:close/>
                <a:moveTo>
                  <a:pt x="412315" y="553308"/>
                </a:moveTo>
                <a:lnTo>
                  <a:pt x="531187" y="553308"/>
                </a:lnTo>
                <a:lnTo>
                  <a:pt x="531187" y="368253"/>
                </a:lnTo>
                <a:lnTo>
                  <a:pt x="412315" y="368253"/>
                </a:lnTo>
                <a:close/>
                <a:moveTo>
                  <a:pt x="202784" y="315966"/>
                </a:moveTo>
                <a:lnTo>
                  <a:pt x="321656" y="315966"/>
                </a:lnTo>
                <a:lnTo>
                  <a:pt x="321656" y="130911"/>
                </a:lnTo>
                <a:lnTo>
                  <a:pt x="202784" y="130911"/>
                </a:lnTo>
                <a:close/>
                <a:moveTo>
                  <a:pt x="202784" y="553308"/>
                </a:moveTo>
                <a:lnTo>
                  <a:pt x="321656" y="553308"/>
                </a:lnTo>
                <a:lnTo>
                  <a:pt x="321656" y="368253"/>
                </a:lnTo>
                <a:lnTo>
                  <a:pt x="202784" y="368253"/>
                </a:lnTo>
                <a:close/>
                <a:moveTo>
                  <a:pt x="0" y="671512"/>
                </a:moveTo>
                <a:lnTo>
                  <a:pt x="0" y="0"/>
                </a:lnTo>
                <a:lnTo>
                  <a:pt x="1906013" y="0"/>
                </a:lnTo>
                <a:lnTo>
                  <a:pt x="1906013" y="67151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212" tIns="45606" rIns="45606" bIns="91212" numCol="1" spcCol="0" rtlCol="0" fromWordArt="0" anchor="b" anchorCtr="0" forceAA="0" compatLnSpc="1">
            <a:prstTxWarp prst="textNoShape">
              <a:avLst/>
            </a:prstTxWarp>
            <a:noAutofit/>
          </a:bodyPr>
          <a:lstStyle/>
          <a:p>
            <a:pPr algn="ctr" defTabSz="911820" fontAlgn="base">
              <a:spcBef>
                <a:spcPct val="0"/>
              </a:spcBef>
              <a:spcAft>
                <a:spcPct val="0"/>
              </a:spcAft>
            </a:pPr>
            <a:endParaRPr lang="en-US" sz="14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10012313" y="1806644"/>
            <a:ext cx="1933625" cy="1626721"/>
            <a:chOff x="161401" y="1932654"/>
            <a:chExt cx="1761072" cy="1626721"/>
          </a:xfrm>
        </p:grpSpPr>
        <p:grpSp>
          <p:nvGrpSpPr>
            <p:cNvPr id="3" name="Group 2"/>
            <p:cNvGrpSpPr/>
            <p:nvPr/>
          </p:nvGrpSpPr>
          <p:grpSpPr>
            <a:xfrm>
              <a:off x="161401" y="3250919"/>
              <a:ext cx="1761072" cy="308456"/>
              <a:chOff x="3900492" y="3987329"/>
              <a:chExt cx="4849648" cy="308456"/>
            </a:xfrm>
          </p:grpSpPr>
          <p:sp>
            <p:nvSpPr>
              <p:cNvPr id="1160" name="Rectangle 1159"/>
              <p:cNvSpPr/>
              <p:nvPr/>
            </p:nvSpPr>
            <p:spPr bwMode="auto">
              <a:xfrm>
                <a:off x="3900492" y="4250066"/>
                <a:ext cx="4849648" cy="45719"/>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61" name="Trapezoid 1160"/>
              <p:cNvSpPr/>
              <p:nvPr/>
            </p:nvSpPr>
            <p:spPr bwMode="auto">
              <a:xfrm>
                <a:off x="4016909" y="3987329"/>
                <a:ext cx="4634336" cy="262428"/>
              </a:xfrm>
              <a:prstGeom prst="trapezoid">
                <a:avLst>
                  <a:gd name="adj" fmla="val 100094"/>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nvGrpSpPr>
            <p:cNvPr id="1162" name="Group 1161"/>
            <p:cNvGrpSpPr/>
            <p:nvPr/>
          </p:nvGrpSpPr>
          <p:grpSpPr>
            <a:xfrm>
              <a:off x="199444" y="1932654"/>
              <a:ext cx="1691879" cy="1585516"/>
              <a:chOff x="114794" y="583668"/>
              <a:chExt cx="3534424" cy="3543633"/>
            </a:xfrm>
          </p:grpSpPr>
          <p:sp>
            <p:nvSpPr>
              <p:cNvPr id="1163" name="Rectangle 1162"/>
              <p:cNvSpPr/>
              <p:nvPr/>
            </p:nvSpPr>
            <p:spPr bwMode="auto">
              <a:xfrm>
                <a:off x="607548" y="583668"/>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64"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65"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grpSp>
        <p:nvGrpSpPr>
          <p:cNvPr id="1174" name="Group 1173"/>
          <p:cNvGrpSpPr/>
          <p:nvPr/>
        </p:nvGrpSpPr>
        <p:grpSpPr>
          <a:xfrm>
            <a:off x="10055118" y="4879231"/>
            <a:ext cx="1890821" cy="1577833"/>
            <a:chOff x="199443" y="1940338"/>
            <a:chExt cx="1691880" cy="1577833"/>
          </a:xfrm>
        </p:grpSpPr>
        <p:sp>
          <p:nvSpPr>
            <p:cNvPr id="1181" name="Trapezoid 1180"/>
            <p:cNvSpPr/>
            <p:nvPr/>
          </p:nvSpPr>
          <p:spPr bwMode="auto">
            <a:xfrm>
              <a:off x="203676" y="3250919"/>
              <a:ext cx="1682885" cy="262428"/>
            </a:xfrm>
            <a:prstGeom prst="trapezoid">
              <a:avLst>
                <a:gd name="adj" fmla="val 98125"/>
              </a:avLst>
            </a:prstGeom>
            <a:solidFill>
              <a:srgbClr val="004B6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1176" name="Group 1175"/>
            <p:cNvGrpSpPr/>
            <p:nvPr/>
          </p:nvGrpSpPr>
          <p:grpSpPr>
            <a:xfrm>
              <a:off x="199443" y="1940338"/>
              <a:ext cx="1691880" cy="1577833"/>
              <a:chOff x="114793" y="600842"/>
              <a:chExt cx="3534425" cy="3526460"/>
            </a:xfrm>
          </p:grpSpPr>
          <p:sp>
            <p:nvSpPr>
              <p:cNvPr id="1177" name="Rectangle 1176"/>
              <p:cNvSpPr/>
              <p:nvPr/>
            </p:nvSpPr>
            <p:spPr bwMode="auto">
              <a:xfrm>
                <a:off x="607549" y="600842"/>
                <a:ext cx="2543904" cy="2932554"/>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78" name="Trapezoid 302"/>
              <p:cNvSpPr/>
              <p:nvPr/>
            </p:nvSpPr>
            <p:spPr bwMode="auto">
              <a:xfrm rot="16200000">
                <a:off x="2288511"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79" name="Trapezoid 302"/>
              <p:cNvSpPr/>
              <p:nvPr/>
            </p:nvSpPr>
            <p:spPr bwMode="auto">
              <a:xfrm rot="5400000" flipH="1">
                <a:off x="-758896" y="2766596"/>
                <a:ext cx="2234395" cy="487017"/>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grpSp>
        <p:nvGrpSpPr>
          <p:cNvPr id="16" name="Group 15"/>
          <p:cNvGrpSpPr/>
          <p:nvPr/>
        </p:nvGrpSpPr>
        <p:grpSpPr>
          <a:xfrm>
            <a:off x="10655475" y="1987733"/>
            <a:ext cx="1235843" cy="1300108"/>
            <a:chOff x="831806" y="2009918"/>
            <a:chExt cx="1002800" cy="1261872"/>
          </a:xfrm>
        </p:grpSpPr>
        <p:sp>
          <p:nvSpPr>
            <p:cNvPr id="661" name="Rectangle 660"/>
            <p:cNvSpPr/>
            <p:nvPr/>
          </p:nvSpPr>
          <p:spPr bwMode="auto">
            <a:xfrm>
              <a:off x="831806" y="2009918"/>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ln w="3175">
                    <a:noFill/>
                  </a:ln>
                  <a:solidFill>
                    <a:srgbClr val="FFFFFF"/>
                  </a:solidFill>
                  <a:cs typeface="Arial" charset="0"/>
                </a:rPr>
                <a:t>I can see my production line status and recommend adjustments to  better manage operational cost.</a:t>
              </a:r>
            </a:p>
          </p:txBody>
        </p:sp>
        <p:cxnSp>
          <p:nvCxnSpPr>
            <p:cNvPr id="662" name="Straight Connector 661"/>
            <p:cNvCxnSpPr/>
            <p:nvPr/>
          </p:nvCxnSpPr>
          <p:spPr>
            <a:xfrm flipV="1">
              <a:off x="831806" y="2009918"/>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8" name="Group 17"/>
          <p:cNvGrpSpPr/>
          <p:nvPr/>
        </p:nvGrpSpPr>
        <p:grpSpPr>
          <a:xfrm>
            <a:off x="10655475" y="5056119"/>
            <a:ext cx="1235843" cy="1300108"/>
            <a:chOff x="831806" y="5064344"/>
            <a:chExt cx="1002800" cy="1261872"/>
          </a:xfrm>
        </p:grpSpPr>
        <p:sp>
          <p:nvSpPr>
            <p:cNvPr id="788" name="Rectangle 787"/>
            <p:cNvSpPr/>
            <p:nvPr/>
          </p:nvSpPr>
          <p:spPr bwMode="auto">
            <a:xfrm>
              <a:off x="831806" y="5064344"/>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solidFill>
                    <a:srgbClr val="FFFFFF"/>
                  </a:solidFill>
                </a:rPr>
                <a:t>I know when to deploy the right resources for predictive maintenance to minimize equipment failures and reduce service cost.</a:t>
              </a:r>
              <a:endParaRPr lang="en-US" sz="900" dirty="0">
                <a:ln w="3175">
                  <a:noFill/>
                </a:ln>
                <a:solidFill>
                  <a:srgbClr val="FFFFFF"/>
                </a:solidFill>
                <a:cs typeface="Arial" charset="0"/>
              </a:endParaRPr>
            </a:p>
          </p:txBody>
        </p:sp>
        <p:cxnSp>
          <p:nvCxnSpPr>
            <p:cNvPr id="789" name="Straight Connector 788"/>
            <p:cNvCxnSpPr/>
            <p:nvPr/>
          </p:nvCxnSpPr>
          <p:spPr>
            <a:xfrm flipV="1">
              <a:off x="831806" y="5064344"/>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 name="Group 16"/>
          <p:cNvGrpSpPr/>
          <p:nvPr/>
        </p:nvGrpSpPr>
        <p:grpSpPr>
          <a:xfrm>
            <a:off x="10655475" y="3526716"/>
            <a:ext cx="1235843" cy="1300108"/>
            <a:chOff x="831806" y="3541921"/>
            <a:chExt cx="1002800" cy="1261872"/>
          </a:xfrm>
        </p:grpSpPr>
        <p:sp>
          <p:nvSpPr>
            <p:cNvPr id="677" name="Rectangle 676"/>
            <p:cNvSpPr/>
            <p:nvPr/>
          </p:nvSpPr>
          <p:spPr bwMode="auto">
            <a:xfrm>
              <a:off x="831806" y="3541921"/>
              <a:ext cx="1002800" cy="126187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solidFill>
                    <a:srgbClr val="FFFFFF"/>
                  </a:solidFill>
                </a:rPr>
                <a:t>I gain insight into usage patterns from multiple customers and track equipment deterioration, enabling me to reengineer products for better performance.</a:t>
              </a:r>
              <a:endParaRPr lang="en-US" sz="900" dirty="0">
                <a:ln w="3175">
                  <a:noFill/>
                </a:ln>
                <a:solidFill>
                  <a:srgbClr val="FFFFFF"/>
                </a:solidFill>
                <a:latin typeface="Segoe UI Light"/>
                <a:cs typeface="Arial" charset="0"/>
              </a:endParaRPr>
            </a:p>
          </p:txBody>
        </p:sp>
        <p:cxnSp>
          <p:nvCxnSpPr>
            <p:cNvPr id="678" name="Straight Connector 677"/>
            <p:cNvCxnSpPr/>
            <p:nvPr/>
          </p:nvCxnSpPr>
          <p:spPr>
            <a:xfrm flipV="1">
              <a:off x="831806" y="3541921"/>
              <a:ext cx="0" cy="1261872"/>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3" name="Group 12"/>
          <p:cNvGrpSpPr/>
          <p:nvPr/>
        </p:nvGrpSpPr>
        <p:grpSpPr>
          <a:xfrm>
            <a:off x="10208196" y="2573943"/>
            <a:ext cx="407647" cy="707372"/>
            <a:chOff x="10207721" y="2573943"/>
            <a:chExt cx="407647" cy="707372"/>
          </a:xfrm>
        </p:grpSpPr>
        <p:grpSp>
          <p:nvGrpSpPr>
            <p:cNvPr id="6" name="Group 5"/>
            <p:cNvGrpSpPr/>
            <p:nvPr/>
          </p:nvGrpSpPr>
          <p:grpSpPr>
            <a:xfrm>
              <a:off x="10207721" y="2573943"/>
              <a:ext cx="311545" cy="707372"/>
              <a:chOff x="309086" y="5345226"/>
              <a:chExt cx="311545" cy="707372"/>
            </a:xfrm>
          </p:grpSpPr>
          <p:sp>
            <p:nvSpPr>
              <p:cNvPr id="988" name="Freeform 6"/>
              <p:cNvSpPr>
                <a:spLocks/>
              </p:cNvSpPr>
              <p:nvPr/>
            </p:nvSpPr>
            <p:spPr bwMode="auto">
              <a:xfrm>
                <a:off x="309086" y="5489141"/>
                <a:ext cx="255618" cy="563457"/>
              </a:xfrm>
              <a:custGeom>
                <a:avLst/>
                <a:gdLst>
                  <a:gd name="T0" fmla="*/ 1366 w 1586"/>
                  <a:gd name="T1" fmla="*/ 120 h 3496"/>
                  <a:gd name="T2" fmla="*/ 1247 w 1586"/>
                  <a:gd name="T3" fmla="*/ 64 h 3496"/>
                  <a:gd name="T4" fmla="*/ 1023 w 1586"/>
                  <a:gd name="T5" fmla="*/ 0 h 3496"/>
                  <a:gd name="T6" fmla="*/ 489 w 1586"/>
                  <a:gd name="T7" fmla="*/ 30 h 3496"/>
                  <a:gd name="T8" fmla="*/ 249 w 1586"/>
                  <a:gd name="T9" fmla="*/ 136 h 3496"/>
                  <a:gd name="T10" fmla="*/ 126 w 1586"/>
                  <a:gd name="T11" fmla="*/ 222 h 3496"/>
                  <a:gd name="T12" fmla="*/ 106 w 1586"/>
                  <a:gd name="T13" fmla="*/ 261 h 3496"/>
                  <a:gd name="T14" fmla="*/ 62 w 1586"/>
                  <a:gd name="T15" fmla="*/ 441 h 3496"/>
                  <a:gd name="T16" fmla="*/ 54 w 1586"/>
                  <a:gd name="T17" fmla="*/ 605 h 3496"/>
                  <a:gd name="T18" fmla="*/ 18 w 1586"/>
                  <a:gd name="T19" fmla="*/ 1139 h 3496"/>
                  <a:gd name="T20" fmla="*/ 2 w 1586"/>
                  <a:gd name="T21" fmla="*/ 1549 h 3496"/>
                  <a:gd name="T22" fmla="*/ 4 w 1586"/>
                  <a:gd name="T23" fmla="*/ 1632 h 3496"/>
                  <a:gd name="T24" fmla="*/ 32 w 1586"/>
                  <a:gd name="T25" fmla="*/ 1698 h 3496"/>
                  <a:gd name="T26" fmla="*/ 78 w 1586"/>
                  <a:gd name="T27" fmla="*/ 1732 h 3496"/>
                  <a:gd name="T28" fmla="*/ 124 w 1586"/>
                  <a:gd name="T29" fmla="*/ 1738 h 3496"/>
                  <a:gd name="T30" fmla="*/ 178 w 1586"/>
                  <a:gd name="T31" fmla="*/ 1724 h 3496"/>
                  <a:gd name="T32" fmla="*/ 217 w 1586"/>
                  <a:gd name="T33" fmla="*/ 1690 h 3496"/>
                  <a:gd name="T34" fmla="*/ 239 w 1586"/>
                  <a:gd name="T35" fmla="*/ 1634 h 3496"/>
                  <a:gd name="T36" fmla="*/ 245 w 1586"/>
                  <a:gd name="T37" fmla="*/ 1473 h 3496"/>
                  <a:gd name="T38" fmla="*/ 291 w 1586"/>
                  <a:gd name="T39" fmla="*/ 856 h 3496"/>
                  <a:gd name="T40" fmla="*/ 323 w 1586"/>
                  <a:gd name="T41" fmla="*/ 635 h 3496"/>
                  <a:gd name="T42" fmla="*/ 331 w 1586"/>
                  <a:gd name="T43" fmla="*/ 1193 h 3496"/>
                  <a:gd name="T44" fmla="*/ 321 w 1586"/>
                  <a:gd name="T45" fmla="*/ 1355 h 3496"/>
                  <a:gd name="T46" fmla="*/ 297 w 1586"/>
                  <a:gd name="T47" fmla="*/ 1616 h 3496"/>
                  <a:gd name="T48" fmla="*/ 311 w 1586"/>
                  <a:gd name="T49" fmla="*/ 1808 h 3496"/>
                  <a:gd name="T50" fmla="*/ 343 w 1586"/>
                  <a:gd name="T51" fmla="*/ 2039 h 3496"/>
                  <a:gd name="T52" fmla="*/ 359 w 1586"/>
                  <a:gd name="T53" fmla="*/ 2399 h 3496"/>
                  <a:gd name="T54" fmla="*/ 341 w 1586"/>
                  <a:gd name="T55" fmla="*/ 2953 h 3496"/>
                  <a:gd name="T56" fmla="*/ 333 w 1586"/>
                  <a:gd name="T57" fmla="*/ 3312 h 3496"/>
                  <a:gd name="T58" fmla="*/ 341 w 1586"/>
                  <a:gd name="T59" fmla="*/ 3374 h 3496"/>
                  <a:gd name="T60" fmla="*/ 367 w 1586"/>
                  <a:gd name="T61" fmla="*/ 3424 h 3496"/>
                  <a:gd name="T62" fmla="*/ 457 w 1586"/>
                  <a:gd name="T63" fmla="*/ 3484 h 3496"/>
                  <a:gd name="T64" fmla="*/ 573 w 1586"/>
                  <a:gd name="T65" fmla="*/ 3492 h 3496"/>
                  <a:gd name="T66" fmla="*/ 678 w 1586"/>
                  <a:gd name="T67" fmla="*/ 3444 h 3496"/>
                  <a:gd name="T68" fmla="*/ 710 w 1586"/>
                  <a:gd name="T69" fmla="*/ 3334 h 3496"/>
                  <a:gd name="T70" fmla="*/ 726 w 1586"/>
                  <a:gd name="T71" fmla="*/ 3143 h 3496"/>
                  <a:gd name="T72" fmla="*/ 724 w 1586"/>
                  <a:gd name="T73" fmla="*/ 1736 h 3496"/>
                  <a:gd name="T74" fmla="*/ 812 w 1586"/>
                  <a:gd name="T75" fmla="*/ 2542 h 3496"/>
                  <a:gd name="T76" fmla="*/ 816 w 1586"/>
                  <a:gd name="T77" fmla="*/ 3350 h 3496"/>
                  <a:gd name="T78" fmla="*/ 838 w 1586"/>
                  <a:gd name="T79" fmla="*/ 3420 h 3496"/>
                  <a:gd name="T80" fmla="*/ 884 w 1586"/>
                  <a:gd name="T81" fmla="*/ 3466 h 3496"/>
                  <a:gd name="T82" fmla="*/ 948 w 1586"/>
                  <a:gd name="T83" fmla="*/ 3490 h 3496"/>
                  <a:gd name="T84" fmla="*/ 1017 w 1586"/>
                  <a:gd name="T85" fmla="*/ 3492 h 3496"/>
                  <a:gd name="T86" fmla="*/ 1083 w 1586"/>
                  <a:gd name="T87" fmla="*/ 3474 h 3496"/>
                  <a:gd name="T88" fmla="*/ 1141 w 1586"/>
                  <a:gd name="T89" fmla="*/ 3436 h 3496"/>
                  <a:gd name="T90" fmla="*/ 1179 w 1586"/>
                  <a:gd name="T91" fmla="*/ 3380 h 3496"/>
                  <a:gd name="T92" fmla="*/ 1187 w 1586"/>
                  <a:gd name="T93" fmla="*/ 3308 h 3496"/>
                  <a:gd name="T94" fmla="*/ 1179 w 1586"/>
                  <a:gd name="T95" fmla="*/ 2935 h 3496"/>
                  <a:gd name="T96" fmla="*/ 1163 w 1586"/>
                  <a:gd name="T97" fmla="*/ 2369 h 3496"/>
                  <a:gd name="T98" fmla="*/ 1185 w 1586"/>
                  <a:gd name="T99" fmla="*/ 1997 h 3496"/>
                  <a:gd name="T100" fmla="*/ 1225 w 1586"/>
                  <a:gd name="T101" fmla="*/ 1764 h 3496"/>
                  <a:gd name="T102" fmla="*/ 1235 w 1586"/>
                  <a:gd name="T103" fmla="*/ 1584 h 3496"/>
                  <a:gd name="T104" fmla="*/ 1201 w 1586"/>
                  <a:gd name="T105" fmla="*/ 1327 h 3496"/>
                  <a:gd name="T106" fmla="*/ 1189 w 1586"/>
                  <a:gd name="T107" fmla="*/ 1173 h 3496"/>
                  <a:gd name="T108" fmla="*/ 1189 w 1586"/>
                  <a:gd name="T109" fmla="*/ 623 h 3496"/>
                  <a:gd name="T110" fmla="*/ 1299 w 1586"/>
                  <a:gd name="T111" fmla="*/ 1042 h 3496"/>
                  <a:gd name="T112" fmla="*/ 1351 w 1586"/>
                  <a:gd name="T113" fmla="*/ 1004 h 3496"/>
                  <a:gd name="T114" fmla="*/ 1476 w 1586"/>
                  <a:gd name="T115" fmla="*/ 844 h 3496"/>
                  <a:gd name="T116" fmla="*/ 1550 w 1586"/>
                  <a:gd name="T117" fmla="*/ 772 h 3496"/>
                  <a:gd name="T118" fmla="*/ 1586 w 1586"/>
                  <a:gd name="T119" fmla="*/ 760 h 3496"/>
                  <a:gd name="T120" fmla="*/ 1438 w 1586"/>
                  <a:gd name="T121" fmla="*/ 557 h 3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6" h="3496">
                    <a:moveTo>
                      <a:pt x="1438" y="557"/>
                    </a:moveTo>
                    <a:lnTo>
                      <a:pt x="1378" y="132"/>
                    </a:lnTo>
                    <a:lnTo>
                      <a:pt x="1378" y="132"/>
                    </a:lnTo>
                    <a:lnTo>
                      <a:pt x="1366" y="120"/>
                    </a:lnTo>
                    <a:lnTo>
                      <a:pt x="1351" y="110"/>
                    </a:lnTo>
                    <a:lnTo>
                      <a:pt x="1329" y="98"/>
                    </a:lnTo>
                    <a:lnTo>
                      <a:pt x="1305" y="86"/>
                    </a:lnTo>
                    <a:lnTo>
                      <a:pt x="1247" y="64"/>
                    </a:lnTo>
                    <a:lnTo>
                      <a:pt x="1185" y="44"/>
                    </a:lnTo>
                    <a:lnTo>
                      <a:pt x="1125" y="26"/>
                    </a:lnTo>
                    <a:lnTo>
                      <a:pt x="1073" y="12"/>
                    </a:lnTo>
                    <a:lnTo>
                      <a:pt x="1023" y="0"/>
                    </a:lnTo>
                    <a:lnTo>
                      <a:pt x="782" y="1046"/>
                    </a:lnTo>
                    <a:lnTo>
                      <a:pt x="561" y="4"/>
                    </a:lnTo>
                    <a:lnTo>
                      <a:pt x="561" y="4"/>
                    </a:lnTo>
                    <a:lnTo>
                      <a:pt x="489" y="30"/>
                    </a:lnTo>
                    <a:lnTo>
                      <a:pt x="417" y="60"/>
                    </a:lnTo>
                    <a:lnTo>
                      <a:pt x="333" y="96"/>
                    </a:lnTo>
                    <a:lnTo>
                      <a:pt x="291" y="116"/>
                    </a:lnTo>
                    <a:lnTo>
                      <a:pt x="249" y="136"/>
                    </a:lnTo>
                    <a:lnTo>
                      <a:pt x="211" y="158"/>
                    </a:lnTo>
                    <a:lnTo>
                      <a:pt x="178" y="180"/>
                    </a:lnTo>
                    <a:lnTo>
                      <a:pt x="148" y="202"/>
                    </a:lnTo>
                    <a:lnTo>
                      <a:pt x="126" y="222"/>
                    </a:lnTo>
                    <a:lnTo>
                      <a:pt x="118" y="232"/>
                    </a:lnTo>
                    <a:lnTo>
                      <a:pt x="112" y="242"/>
                    </a:lnTo>
                    <a:lnTo>
                      <a:pt x="108" y="252"/>
                    </a:lnTo>
                    <a:lnTo>
                      <a:pt x="106" y="261"/>
                    </a:lnTo>
                    <a:lnTo>
                      <a:pt x="80" y="333"/>
                    </a:lnTo>
                    <a:lnTo>
                      <a:pt x="80" y="333"/>
                    </a:lnTo>
                    <a:lnTo>
                      <a:pt x="68" y="399"/>
                    </a:lnTo>
                    <a:lnTo>
                      <a:pt x="62" y="441"/>
                    </a:lnTo>
                    <a:lnTo>
                      <a:pt x="58" y="467"/>
                    </a:lnTo>
                    <a:lnTo>
                      <a:pt x="58" y="467"/>
                    </a:lnTo>
                    <a:lnTo>
                      <a:pt x="58" y="537"/>
                    </a:lnTo>
                    <a:lnTo>
                      <a:pt x="54" y="605"/>
                    </a:lnTo>
                    <a:lnTo>
                      <a:pt x="48" y="742"/>
                    </a:lnTo>
                    <a:lnTo>
                      <a:pt x="38" y="876"/>
                    </a:lnTo>
                    <a:lnTo>
                      <a:pt x="28" y="1008"/>
                    </a:lnTo>
                    <a:lnTo>
                      <a:pt x="18" y="1139"/>
                    </a:lnTo>
                    <a:lnTo>
                      <a:pt x="8" y="1273"/>
                    </a:lnTo>
                    <a:lnTo>
                      <a:pt x="2" y="1409"/>
                    </a:lnTo>
                    <a:lnTo>
                      <a:pt x="2" y="1479"/>
                    </a:lnTo>
                    <a:lnTo>
                      <a:pt x="2" y="1549"/>
                    </a:lnTo>
                    <a:lnTo>
                      <a:pt x="2" y="1549"/>
                    </a:lnTo>
                    <a:lnTo>
                      <a:pt x="0" y="1574"/>
                    </a:lnTo>
                    <a:lnTo>
                      <a:pt x="0" y="1602"/>
                    </a:lnTo>
                    <a:lnTo>
                      <a:pt x="4" y="1632"/>
                    </a:lnTo>
                    <a:lnTo>
                      <a:pt x="12" y="1660"/>
                    </a:lnTo>
                    <a:lnTo>
                      <a:pt x="18" y="1674"/>
                    </a:lnTo>
                    <a:lnTo>
                      <a:pt x="24" y="1686"/>
                    </a:lnTo>
                    <a:lnTo>
                      <a:pt x="32" y="1698"/>
                    </a:lnTo>
                    <a:lnTo>
                      <a:pt x="42" y="1710"/>
                    </a:lnTo>
                    <a:lnTo>
                      <a:pt x="52" y="1718"/>
                    </a:lnTo>
                    <a:lnTo>
                      <a:pt x="64" y="1726"/>
                    </a:lnTo>
                    <a:lnTo>
                      <a:pt x="78" y="1732"/>
                    </a:lnTo>
                    <a:lnTo>
                      <a:pt x="94" y="1736"/>
                    </a:lnTo>
                    <a:lnTo>
                      <a:pt x="94" y="1736"/>
                    </a:lnTo>
                    <a:lnTo>
                      <a:pt x="110" y="1738"/>
                    </a:lnTo>
                    <a:lnTo>
                      <a:pt x="124" y="1738"/>
                    </a:lnTo>
                    <a:lnTo>
                      <a:pt x="138" y="1736"/>
                    </a:lnTo>
                    <a:lnTo>
                      <a:pt x="152" y="1734"/>
                    </a:lnTo>
                    <a:lnTo>
                      <a:pt x="166" y="1730"/>
                    </a:lnTo>
                    <a:lnTo>
                      <a:pt x="178" y="1724"/>
                    </a:lnTo>
                    <a:lnTo>
                      <a:pt x="190" y="1718"/>
                    </a:lnTo>
                    <a:lnTo>
                      <a:pt x="199" y="1710"/>
                    </a:lnTo>
                    <a:lnTo>
                      <a:pt x="207" y="1700"/>
                    </a:lnTo>
                    <a:lnTo>
                      <a:pt x="217" y="1690"/>
                    </a:lnTo>
                    <a:lnTo>
                      <a:pt x="223" y="1678"/>
                    </a:lnTo>
                    <a:lnTo>
                      <a:pt x="229" y="1664"/>
                    </a:lnTo>
                    <a:lnTo>
                      <a:pt x="235" y="1650"/>
                    </a:lnTo>
                    <a:lnTo>
                      <a:pt x="239" y="1634"/>
                    </a:lnTo>
                    <a:lnTo>
                      <a:pt x="241" y="1618"/>
                    </a:lnTo>
                    <a:lnTo>
                      <a:pt x="241" y="1600"/>
                    </a:lnTo>
                    <a:lnTo>
                      <a:pt x="241" y="1600"/>
                    </a:lnTo>
                    <a:lnTo>
                      <a:pt x="245" y="1473"/>
                    </a:lnTo>
                    <a:lnTo>
                      <a:pt x="253" y="1323"/>
                    </a:lnTo>
                    <a:lnTo>
                      <a:pt x="265" y="1161"/>
                    </a:lnTo>
                    <a:lnTo>
                      <a:pt x="277" y="1002"/>
                    </a:lnTo>
                    <a:lnTo>
                      <a:pt x="291" y="856"/>
                    </a:lnTo>
                    <a:lnTo>
                      <a:pt x="305" y="738"/>
                    </a:lnTo>
                    <a:lnTo>
                      <a:pt x="313" y="692"/>
                    </a:lnTo>
                    <a:lnTo>
                      <a:pt x="319" y="657"/>
                    </a:lnTo>
                    <a:lnTo>
                      <a:pt x="323" y="635"/>
                    </a:lnTo>
                    <a:lnTo>
                      <a:pt x="327" y="629"/>
                    </a:lnTo>
                    <a:lnTo>
                      <a:pt x="329" y="627"/>
                    </a:lnTo>
                    <a:lnTo>
                      <a:pt x="329" y="627"/>
                    </a:lnTo>
                    <a:lnTo>
                      <a:pt x="331" y="1193"/>
                    </a:lnTo>
                    <a:lnTo>
                      <a:pt x="331" y="1193"/>
                    </a:lnTo>
                    <a:lnTo>
                      <a:pt x="329" y="1237"/>
                    </a:lnTo>
                    <a:lnTo>
                      <a:pt x="327" y="1277"/>
                    </a:lnTo>
                    <a:lnTo>
                      <a:pt x="321" y="1355"/>
                    </a:lnTo>
                    <a:lnTo>
                      <a:pt x="311" y="1427"/>
                    </a:lnTo>
                    <a:lnTo>
                      <a:pt x="303" y="1499"/>
                    </a:lnTo>
                    <a:lnTo>
                      <a:pt x="297" y="1574"/>
                    </a:lnTo>
                    <a:lnTo>
                      <a:pt x="297" y="1616"/>
                    </a:lnTo>
                    <a:lnTo>
                      <a:pt x="297" y="1658"/>
                    </a:lnTo>
                    <a:lnTo>
                      <a:pt x="299" y="1704"/>
                    </a:lnTo>
                    <a:lnTo>
                      <a:pt x="303" y="1754"/>
                    </a:lnTo>
                    <a:lnTo>
                      <a:pt x="311" y="1808"/>
                    </a:lnTo>
                    <a:lnTo>
                      <a:pt x="319" y="1866"/>
                    </a:lnTo>
                    <a:lnTo>
                      <a:pt x="319" y="1866"/>
                    </a:lnTo>
                    <a:lnTo>
                      <a:pt x="333" y="1952"/>
                    </a:lnTo>
                    <a:lnTo>
                      <a:pt x="343" y="2039"/>
                    </a:lnTo>
                    <a:lnTo>
                      <a:pt x="351" y="2127"/>
                    </a:lnTo>
                    <a:lnTo>
                      <a:pt x="355" y="2217"/>
                    </a:lnTo>
                    <a:lnTo>
                      <a:pt x="357" y="2307"/>
                    </a:lnTo>
                    <a:lnTo>
                      <a:pt x="359" y="2399"/>
                    </a:lnTo>
                    <a:lnTo>
                      <a:pt x="357" y="2490"/>
                    </a:lnTo>
                    <a:lnTo>
                      <a:pt x="355" y="2584"/>
                    </a:lnTo>
                    <a:lnTo>
                      <a:pt x="349" y="2768"/>
                    </a:lnTo>
                    <a:lnTo>
                      <a:pt x="341" y="2953"/>
                    </a:lnTo>
                    <a:lnTo>
                      <a:pt x="335" y="3135"/>
                    </a:lnTo>
                    <a:lnTo>
                      <a:pt x="333" y="3225"/>
                    </a:lnTo>
                    <a:lnTo>
                      <a:pt x="333" y="3312"/>
                    </a:lnTo>
                    <a:lnTo>
                      <a:pt x="333" y="3312"/>
                    </a:lnTo>
                    <a:lnTo>
                      <a:pt x="333" y="3328"/>
                    </a:lnTo>
                    <a:lnTo>
                      <a:pt x="333" y="3344"/>
                    </a:lnTo>
                    <a:lnTo>
                      <a:pt x="337" y="3360"/>
                    </a:lnTo>
                    <a:lnTo>
                      <a:pt x="341" y="3374"/>
                    </a:lnTo>
                    <a:lnTo>
                      <a:pt x="345" y="3388"/>
                    </a:lnTo>
                    <a:lnTo>
                      <a:pt x="351" y="3400"/>
                    </a:lnTo>
                    <a:lnTo>
                      <a:pt x="359" y="3412"/>
                    </a:lnTo>
                    <a:lnTo>
                      <a:pt x="367" y="3424"/>
                    </a:lnTo>
                    <a:lnTo>
                      <a:pt x="385" y="3444"/>
                    </a:lnTo>
                    <a:lnTo>
                      <a:pt x="407" y="3460"/>
                    </a:lnTo>
                    <a:lnTo>
                      <a:pt x="431" y="3474"/>
                    </a:lnTo>
                    <a:lnTo>
                      <a:pt x="457" y="3484"/>
                    </a:lnTo>
                    <a:lnTo>
                      <a:pt x="485" y="3492"/>
                    </a:lnTo>
                    <a:lnTo>
                      <a:pt x="515" y="3494"/>
                    </a:lnTo>
                    <a:lnTo>
                      <a:pt x="543" y="3496"/>
                    </a:lnTo>
                    <a:lnTo>
                      <a:pt x="573" y="3492"/>
                    </a:lnTo>
                    <a:lnTo>
                      <a:pt x="600" y="3486"/>
                    </a:lnTo>
                    <a:lnTo>
                      <a:pt x="628" y="3476"/>
                    </a:lnTo>
                    <a:lnTo>
                      <a:pt x="654" y="3462"/>
                    </a:lnTo>
                    <a:lnTo>
                      <a:pt x="678" y="3444"/>
                    </a:lnTo>
                    <a:lnTo>
                      <a:pt x="678" y="3444"/>
                    </a:lnTo>
                    <a:lnTo>
                      <a:pt x="692" y="3408"/>
                    </a:lnTo>
                    <a:lnTo>
                      <a:pt x="702" y="3372"/>
                    </a:lnTo>
                    <a:lnTo>
                      <a:pt x="710" y="3334"/>
                    </a:lnTo>
                    <a:lnTo>
                      <a:pt x="716" y="3296"/>
                    </a:lnTo>
                    <a:lnTo>
                      <a:pt x="722" y="3259"/>
                    </a:lnTo>
                    <a:lnTo>
                      <a:pt x="724" y="3219"/>
                    </a:lnTo>
                    <a:lnTo>
                      <a:pt x="726" y="3143"/>
                    </a:lnTo>
                    <a:lnTo>
                      <a:pt x="726" y="3143"/>
                    </a:lnTo>
                    <a:lnTo>
                      <a:pt x="724" y="2440"/>
                    </a:lnTo>
                    <a:lnTo>
                      <a:pt x="724" y="1736"/>
                    </a:lnTo>
                    <a:lnTo>
                      <a:pt x="724" y="1736"/>
                    </a:lnTo>
                    <a:lnTo>
                      <a:pt x="812" y="1736"/>
                    </a:lnTo>
                    <a:lnTo>
                      <a:pt x="812" y="1736"/>
                    </a:lnTo>
                    <a:lnTo>
                      <a:pt x="814" y="2139"/>
                    </a:lnTo>
                    <a:lnTo>
                      <a:pt x="812" y="2542"/>
                    </a:lnTo>
                    <a:lnTo>
                      <a:pt x="812" y="2947"/>
                    </a:lnTo>
                    <a:lnTo>
                      <a:pt x="814" y="3149"/>
                    </a:lnTo>
                    <a:lnTo>
                      <a:pt x="816" y="3350"/>
                    </a:lnTo>
                    <a:lnTo>
                      <a:pt x="816" y="3350"/>
                    </a:lnTo>
                    <a:lnTo>
                      <a:pt x="818" y="3370"/>
                    </a:lnTo>
                    <a:lnTo>
                      <a:pt x="824" y="3388"/>
                    </a:lnTo>
                    <a:lnTo>
                      <a:pt x="830" y="3404"/>
                    </a:lnTo>
                    <a:lnTo>
                      <a:pt x="838" y="3420"/>
                    </a:lnTo>
                    <a:lnTo>
                      <a:pt x="848" y="3434"/>
                    </a:lnTo>
                    <a:lnTo>
                      <a:pt x="858" y="3446"/>
                    </a:lnTo>
                    <a:lnTo>
                      <a:pt x="872" y="3458"/>
                    </a:lnTo>
                    <a:lnTo>
                      <a:pt x="884" y="3466"/>
                    </a:lnTo>
                    <a:lnTo>
                      <a:pt x="900" y="3474"/>
                    </a:lnTo>
                    <a:lnTo>
                      <a:pt x="914" y="3482"/>
                    </a:lnTo>
                    <a:lnTo>
                      <a:pt x="930" y="3486"/>
                    </a:lnTo>
                    <a:lnTo>
                      <a:pt x="948" y="3490"/>
                    </a:lnTo>
                    <a:lnTo>
                      <a:pt x="964" y="3492"/>
                    </a:lnTo>
                    <a:lnTo>
                      <a:pt x="981" y="3494"/>
                    </a:lnTo>
                    <a:lnTo>
                      <a:pt x="999" y="3494"/>
                    </a:lnTo>
                    <a:lnTo>
                      <a:pt x="1017" y="3492"/>
                    </a:lnTo>
                    <a:lnTo>
                      <a:pt x="1033" y="3490"/>
                    </a:lnTo>
                    <a:lnTo>
                      <a:pt x="1051" y="3486"/>
                    </a:lnTo>
                    <a:lnTo>
                      <a:pt x="1067" y="3480"/>
                    </a:lnTo>
                    <a:lnTo>
                      <a:pt x="1083" y="3474"/>
                    </a:lnTo>
                    <a:lnTo>
                      <a:pt x="1099" y="3466"/>
                    </a:lnTo>
                    <a:lnTo>
                      <a:pt x="1115" y="3456"/>
                    </a:lnTo>
                    <a:lnTo>
                      <a:pt x="1129" y="3446"/>
                    </a:lnTo>
                    <a:lnTo>
                      <a:pt x="1141" y="3436"/>
                    </a:lnTo>
                    <a:lnTo>
                      <a:pt x="1153" y="3424"/>
                    </a:lnTo>
                    <a:lnTo>
                      <a:pt x="1163" y="3410"/>
                    </a:lnTo>
                    <a:lnTo>
                      <a:pt x="1171" y="3396"/>
                    </a:lnTo>
                    <a:lnTo>
                      <a:pt x="1179" y="3380"/>
                    </a:lnTo>
                    <a:lnTo>
                      <a:pt x="1183" y="3364"/>
                    </a:lnTo>
                    <a:lnTo>
                      <a:pt x="1187" y="3346"/>
                    </a:lnTo>
                    <a:lnTo>
                      <a:pt x="1187" y="3326"/>
                    </a:lnTo>
                    <a:lnTo>
                      <a:pt x="1187" y="3308"/>
                    </a:lnTo>
                    <a:lnTo>
                      <a:pt x="1187" y="3308"/>
                    </a:lnTo>
                    <a:lnTo>
                      <a:pt x="1187" y="3215"/>
                    </a:lnTo>
                    <a:lnTo>
                      <a:pt x="1185" y="3123"/>
                    </a:lnTo>
                    <a:lnTo>
                      <a:pt x="1179" y="2935"/>
                    </a:lnTo>
                    <a:lnTo>
                      <a:pt x="1171" y="2746"/>
                    </a:lnTo>
                    <a:lnTo>
                      <a:pt x="1165" y="2558"/>
                    </a:lnTo>
                    <a:lnTo>
                      <a:pt x="1163" y="2464"/>
                    </a:lnTo>
                    <a:lnTo>
                      <a:pt x="1163" y="2369"/>
                    </a:lnTo>
                    <a:lnTo>
                      <a:pt x="1165" y="2275"/>
                    </a:lnTo>
                    <a:lnTo>
                      <a:pt x="1169" y="2183"/>
                    </a:lnTo>
                    <a:lnTo>
                      <a:pt x="1177" y="2089"/>
                    </a:lnTo>
                    <a:lnTo>
                      <a:pt x="1185" y="1997"/>
                    </a:lnTo>
                    <a:lnTo>
                      <a:pt x="1199" y="1906"/>
                    </a:lnTo>
                    <a:lnTo>
                      <a:pt x="1215" y="1816"/>
                    </a:lnTo>
                    <a:lnTo>
                      <a:pt x="1215" y="1816"/>
                    </a:lnTo>
                    <a:lnTo>
                      <a:pt x="1225" y="1764"/>
                    </a:lnTo>
                    <a:lnTo>
                      <a:pt x="1231" y="1716"/>
                    </a:lnTo>
                    <a:lnTo>
                      <a:pt x="1235" y="1670"/>
                    </a:lnTo>
                    <a:lnTo>
                      <a:pt x="1235" y="1626"/>
                    </a:lnTo>
                    <a:lnTo>
                      <a:pt x="1235" y="1584"/>
                    </a:lnTo>
                    <a:lnTo>
                      <a:pt x="1233" y="1547"/>
                    </a:lnTo>
                    <a:lnTo>
                      <a:pt x="1229" y="1509"/>
                    </a:lnTo>
                    <a:lnTo>
                      <a:pt x="1223" y="1471"/>
                    </a:lnTo>
                    <a:lnTo>
                      <a:pt x="1201" y="1327"/>
                    </a:lnTo>
                    <a:lnTo>
                      <a:pt x="1197" y="1291"/>
                    </a:lnTo>
                    <a:lnTo>
                      <a:pt x="1193" y="1253"/>
                    </a:lnTo>
                    <a:lnTo>
                      <a:pt x="1189" y="1213"/>
                    </a:lnTo>
                    <a:lnTo>
                      <a:pt x="1189" y="1173"/>
                    </a:lnTo>
                    <a:lnTo>
                      <a:pt x="1189" y="1173"/>
                    </a:lnTo>
                    <a:lnTo>
                      <a:pt x="1191" y="623"/>
                    </a:lnTo>
                    <a:lnTo>
                      <a:pt x="1191" y="623"/>
                    </a:lnTo>
                    <a:lnTo>
                      <a:pt x="1189" y="623"/>
                    </a:lnTo>
                    <a:lnTo>
                      <a:pt x="1189" y="625"/>
                    </a:lnTo>
                    <a:lnTo>
                      <a:pt x="1191" y="639"/>
                    </a:lnTo>
                    <a:lnTo>
                      <a:pt x="1207" y="708"/>
                    </a:lnTo>
                    <a:lnTo>
                      <a:pt x="1299" y="1042"/>
                    </a:lnTo>
                    <a:lnTo>
                      <a:pt x="1299" y="1042"/>
                    </a:lnTo>
                    <a:lnTo>
                      <a:pt x="1317" y="1034"/>
                    </a:lnTo>
                    <a:lnTo>
                      <a:pt x="1333" y="1020"/>
                    </a:lnTo>
                    <a:lnTo>
                      <a:pt x="1351" y="1004"/>
                    </a:lnTo>
                    <a:lnTo>
                      <a:pt x="1368" y="984"/>
                    </a:lnTo>
                    <a:lnTo>
                      <a:pt x="1404" y="940"/>
                    </a:lnTo>
                    <a:lnTo>
                      <a:pt x="1440" y="892"/>
                    </a:lnTo>
                    <a:lnTo>
                      <a:pt x="1476" y="844"/>
                    </a:lnTo>
                    <a:lnTo>
                      <a:pt x="1494" y="822"/>
                    </a:lnTo>
                    <a:lnTo>
                      <a:pt x="1512" y="802"/>
                    </a:lnTo>
                    <a:lnTo>
                      <a:pt x="1532" y="786"/>
                    </a:lnTo>
                    <a:lnTo>
                      <a:pt x="1550" y="772"/>
                    </a:lnTo>
                    <a:lnTo>
                      <a:pt x="1568" y="764"/>
                    </a:lnTo>
                    <a:lnTo>
                      <a:pt x="1576" y="762"/>
                    </a:lnTo>
                    <a:lnTo>
                      <a:pt x="1586" y="760"/>
                    </a:lnTo>
                    <a:lnTo>
                      <a:pt x="1586" y="760"/>
                    </a:lnTo>
                    <a:lnTo>
                      <a:pt x="1586" y="756"/>
                    </a:lnTo>
                    <a:lnTo>
                      <a:pt x="1586" y="750"/>
                    </a:lnTo>
                    <a:lnTo>
                      <a:pt x="1422" y="718"/>
                    </a:lnTo>
                    <a:lnTo>
                      <a:pt x="1438" y="557"/>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9" name="Freeform 7"/>
              <p:cNvSpPr>
                <a:spLocks/>
              </p:cNvSpPr>
              <p:nvPr/>
            </p:nvSpPr>
            <p:spPr bwMode="auto">
              <a:xfrm>
                <a:off x="559225" y="5493976"/>
                <a:ext cx="61406" cy="60117"/>
              </a:xfrm>
              <a:custGeom>
                <a:avLst/>
                <a:gdLst>
                  <a:gd name="T0" fmla="*/ 16 w 381"/>
                  <a:gd name="T1" fmla="*/ 357 h 373"/>
                  <a:gd name="T2" fmla="*/ 16 w 381"/>
                  <a:gd name="T3" fmla="*/ 357 h 373"/>
                  <a:gd name="T4" fmla="*/ 34 w 381"/>
                  <a:gd name="T5" fmla="*/ 333 h 373"/>
                  <a:gd name="T6" fmla="*/ 56 w 381"/>
                  <a:gd name="T7" fmla="*/ 303 h 373"/>
                  <a:gd name="T8" fmla="*/ 56 w 381"/>
                  <a:gd name="T9" fmla="*/ 303 h 373"/>
                  <a:gd name="T10" fmla="*/ 66 w 381"/>
                  <a:gd name="T11" fmla="*/ 295 h 373"/>
                  <a:gd name="T12" fmla="*/ 76 w 381"/>
                  <a:gd name="T13" fmla="*/ 285 h 373"/>
                  <a:gd name="T14" fmla="*/ 92 w 381"/>
                  <a:gd name="T15" fmla="*/ 273 h 373"/>
                  <a:gd name="T16" fmla="*/ 110 w 381"/>
                  <a:gd name="T17" fmla="*/ 261 h 373"/>
                  <a:gd name="T18" fmla="*/ 130 w 381"/>
                  <a:gd name="T19" fmla="*/ 251 h 373"/>
                  <a:gd name="T20" fmla="*/ 154 w 381"/>
                  <a:gd name="T21" fmla="*/ 245 h 373"/>
                  <a:gd name="T22" fmla="*/ 168 w 381"/>
                  <a:gd name="T23" fmla="*/ 243 h 373"/>
                  <a:gd name="T24" fmla="*/ 182 w 381"/>
                  <a:gd name="T25" fmla="*/ 243 h 373"/>
                  <a:gd name="T26" fmla="*/ 182 w 381"/>
                  <a:gd name="T27" fmla="*/ 243 h 373"/>
                  <a:gd name="T28" fmla="*/ 201 w 381"/>
                  <a:gd name="T29" fmla="*/ 243 h 373"/>
                  <a:gd name="T30" fmla="*/ 219 w 381"/>
                  <a:gd name="T31" fmla="*/ 247 h 373"/>
                  <a:gd name="T32" fmla="*/ 235 w 381"/>
                  <a:gd name="T33" fmla="*/ 253 h 373"/>
                  <a:gd name="T34" fmla="*/ 235 w 381"/>
                  <a:gd name="T35" fmla="*/ 253 h 373"/>
                  <a:gd name="T36" fmla="*/ 289 w 381"/>
                  <a:gd name="T37" fmla="*/ 279 h 373"/>
                  <a:gd name="T38" fmla="*/ 289 w 381"/>
                  <a:gd name="T39" fmla="*/ 279 h 373"/>
                  <a:gd name="T40" fmla="*/ 299 w 381"/>
                  <a:gd name="T41" fmla="*/ 281 h 373"/>
                  <a:gd name="T42" fmla="*/ 313 w 381"/>
                  <a:gd name="T43" fmla="*/ 279 h 373"/>
                  <a:gd name="T44" fmla="*/ 319 w 381"/>
                  <a:gd name="T45" fmla="*/ 277 h 373"/>
                  <a:gd name="T46" fmla="*/ 325 w 381"/>
                  <a:gd name="T47" fmla="*/ 273 h 373"/>
                  <a:gd name="T48" fmla="*/ 329 w 381"/>
                  <a:gd name="T49" fmla="*/ 267 h 373"/>
                  <a:gd name="T50" fmla="*/ 333 w 381"/>
                  <a:gd name="T51" fmla="*/ 259 h 373"/>
                  <a:gd name="T52" fmla="*/ 379 w 381"/>
                  <a:gd name="T53" fmla="*/ 114 h 373"/>
                  <a:gd name="T54" fmla="*/ 379 w 381"/>
                  <a:gd name="T55" fmla="*/ 114 h 373"/>
                  <a:gd name="T56" fmla="*/ 381 w 381"/>
                  <a:gd name="T57" fmla="*/ 106 h 373"/>
                  <a:gd name="T58" fmla="*/ 381 w 381"/>
                  <a:gd name="T59" fmla="*/ 96 h 373"/>
                  <a:gd name="T60" fmla="*/ 379 w 381"/>
                  <a:gd name="T61" fmla="*/ 90 h 373"/>
                  <a:gd name="T62" fmla="*/ 377 w 381"/>
                  <a:gd name="T63" fmla="*/ 82 h 373"/>
                  <a:gd name="T64" fmla="*/ 373 w 381"/>
                  <a:gd name="T65" fmla="*/ 76 h 373"/>
                  <a:gd name="T66" fmla="*/ 367 w 381"/>
                  <a:gd name="T67" fmla="*/ 70 h 373"/>
                  <a:gd name="T68" fmla="*/ 359 w 381"/>
                  <a:gd name="T69" fmla="*/ 66 h 373"/>
                  <a:gd name="T70" fmla="*/ 353 w 381"/>
                  <a:gd name="T71" fmla="*/ 62 h 373"/>
                  <a:gd name="T72" fmla="*/ 158 w 381"/>
                  <a:gd name="T73" fmla="*/ 0 h 373"/>
                  <a:gd name="T74" fmla="*/ 158 w 381"/>
                  <a:gd name="T75" fmla="*/ 0 h 373"/>
                  <a:gd name="T76" fmla="*/ 150 w 381"/>
                  <a:gd name="T77" fmla="*/ 0 h 373"/>
                  <a:gd name="T78" fmla="*/ 142 w 381"/>
                  <a:gd name="T79" fmla="*/ 0 h 373"/>
                  <a:gd name="T80" fmla="*/ 134 w 381"/>
                  <a:gd name="T81" fmla="*/ 0 h 373"/>
                  <a:gd name="T82" fmla="*/ 126 w 381"/>
                  <a:gd name="T83" fmla="*/ 4 h 373"/>
                  <a:gd name="T84" fmla="*/ 120 w 381"/>
                  <a:gd name="T85" fmla="*/ 8 h 373"/>
                  <a:gd name="T86" fmla="*/ 114 w 381"/>
                  <a:gd name="T87" fmla="*/ 14 h 373"/>
                  <a:gd name="T88" fmla="*/ 110 w 381"/>
                  <a:gd name="T89" fmla="*/ 20 h 373"/>
                  <a:gd name="T90" fmla="*/ 106 w 381"/>
                  <a:gd name="T91" fmla="*/ 28 h 373"/>
                  <a:gd name="T92" fmla="*/ 2 w 381"/>
                  <a:gd name="T93" fmla="*/ 361 h 373"/>
                  <a:gd name="T94" fmla="*/ 2 w 381"/>
                  <a:gd name="T95" fmla="*/ 361 h 373"/>
                  <a:gd name="T96" fmla="*/ 0 w 381"/>
                  <a:gd name="T97" fmla="*/ 367 h 373"/>
                  <a:gd name="T98" fmla="*/ 0 w 381"/>
                  <a:gd name="T99" fmla="*/ 371 h 373"/>
                  <a:gd name="T100" fmla="*/ 2 w 381"/>
                  <a:gd name="T101" fmla="*/ 373 h 373"/>
                  <a:gd name="T102" fmla="*/ 4 w 381"/>
                  <a:gd name="T103" fmla="*/ 371 h 373"/>
                  <a:gd name="T104" fmla="*/ 10 w 381"/>
                  <a:gd name="T105" fmla="*/ 365 h 373"/>
                  <a:gd name="T106" fmla="*/ 16 w 381"/>
                  <a:gd name="T107" fmla="*/ 357 h 373"/>
                  <a:gd name="T108" fmla="*/ 16 w 381"/>
                  <a:gd name="T109" fmla="*/ 3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1" h="373">
                    <a:moveTo>
                      <a:pt x="16" y="357"/>
                    </a:moveTo>
                    <a:lnTo>
                      <a:pt x="16" y="357"/>
                    </a:lnTo>
                    <a:lnTo>
                      <a:pt x="34" y="333"/>
                    </a:lnTo>
                    <a:lnTo>
                      <a:pt x="56" y="303"/>
                    </a:lnTo>
                    <a:lnTo>
                      <a:pt x="56" y="303"/>
                    </a:lnTo>
                    <a:lnTo>
                      <a:pt x="66" y="295"/>
                    </a:lnTo>
                    <a:lnTo>
                      <a:pt x="76" y="285"/>
                    </a:lnTo>
                    <a:lnTo>
                      <a:pt x="92" y="273"/>
                    </a:lnTo>
                    <a:lnTo>
                      <a:pt x="110" y="261"/>
                    </a:lnTo>
                    <a:lnTo>
                      <a:pt x="130" y="251"/>
                    </a:lnTo>
                    <a:lnTo>
                      <a:pt x="154" y="245"/>
                    </a:lnTo>
                    <a:lnTo>
                      <a:pt x="168" y="243"/>
                    </a:lnTo>
                    <a:lnTo>
                      <a:pt x="182" y="243"/>
                    </a:lnTo>
                    <a:lnTo>
                      <a:pt x="182" y="243"/>
                    </a:lnTo>
                    <a:lnTo>
                      <a:pt x="201" y="243"/>
                    </a:lnTo>
                    <a:lnTo>
                      <a:pt x="219" y="247"/>
                    </a:lnTo>
                    <a:lnTo>
                      <a:pt x="235" y="253"/>
                    </a:lnTo>
                    <a:lnTo>
                      <a:pt x="235" y="253"/>
                    </a:lnTo>
                    <a:lnTo>
                      <a:pt x="289" y="279"/>
                    </a:lnTo>
                    <a:lnTo>
                      <a:pt x="289" y="279"/>
                    </a:lnTo>
                    <a:lnTo>
                      <a:pt x="299" y="281"/>
                    </a:lnTo>
                    <a:lnTo>
                      <a:pt x="313" y="279"/>
                    </a:lnTo>
                    <a:lnTo>
                      <a:pt x="319" y="277"/>
                    </a:lnTo>
                    <a:lnTo>
                      <a:pt x="325" y="273"/>
                    </a:lnTo>
                    <a:lnTo>
                      <a:pt x="329" y="267"/>
                    </a:lnTo>
                    <a:lnTo>
                      <a:pt x="333" y="259"/>
                    </a:lnTo>
                    <a:lnTo>
                      <a:pt x="379" y="114"/>
                    </a:lnTo>
                    <a:lnTo>
                      <a:pt x="379" y="114"/>
                    </a:lnTo>
                    <a:lnTo>
                      <a:pt x="381" y="106"/>
                    </a:lnTo>
                    <a:lnTo>
                      <a:pt x="381" y="96"/>
                    </a:lnTo>
                    <a:lnTo>
                      <a:pt x="379" y="90"/>
                    </a:lnTo>
                    <a:lnTo>
                      <a:pt x="377" y="82"/>
                    </a:lnTo>
                    <a:lnTo>
                      <a:pt x="373" y="76"/>
                    </a:lnTo>
                    <a:lnTo>
                      <a:pt x="367" y="70"/>
                    </a:lnTo>
                    <a:lnTo>
                      <a:pt x="359" y="66"/>
                    </a:lnTo>
                    <a:lnTo>
                      <a:pt x="353" y="62"/>
                    </a:lnTo>
                    <a:lnTo>
                      <a:pt x="158" y="0"/>
                    </a:lnTo>
                    <a:lnTo>
                      <a:pt x="158" y="0"/>
                    </a:lnTo>
                    <a:lnTo>
                      <a:pt x="150" y="0"/>
                    </a:lnTo>
                    <a:lnTo>
                      <a:pt x="142" y="0"/>
                    </a:lnTo>
                    <a:lnTo>
                      <a:pt x="134" y="0"/>
                    </a:lnTo>
                    <a:lnTo>
                      <a:pt x="126" y="4"/>
                    </a:lnTo>
                    <a:lnTo>
                      <a:pt x="120" y="8"/>
                    </a:lnTo>
                    <a:lnTo>
                      <a:pt x="114" y="14"/>
                    </a:lnTo>
                    <a:lnTo>
                      <a:pt x="110" y="20"/>
                    </a:lnTo>
                    <a:lnTo>
                      <a:pt x="106" y="28"/>
                    </a:lnTo>
                    <a:lnTo>
                      <a:pt x="2" y="361"/>
                    </a:lnTo>
                    <a:lnTo>
                      <a:pt x="2" y="361"/>
                    </a:lnTo>
                    <a:lnTo>
                      <a:pt x="0" y="367"/>
                    </a:lnTo>
                    <a:lnTo>
                      <a:pt x="0" y="371"/>
                    </a:lnTo>
                    <a:lnTo>
                      <a:pt x="2" y="373"/>
                    </a:lnTo>
                    <a:lnTo>
                      <a:pt x="4" y="371"/>
                    </a:lnTo>
                    <a:lnTo>
                      <a:pt x="10" y="365"/>
                    </a:lnTo>
                    <a:lnTo>
                      <a:pt x="16" y="357"/>
                    </a:lnTo>
                    <a:lnTo>
                      <a:pt x="16" y="357"/>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0" name="Freeform 8"/>
              <p:cNvSpPr>
                <a:spLocks/>
              </p:cNvSpPr>
              <p:nvPr/>
            </p:nvSpPr>
            <p:spPr bwMode="auto">
              <a:xfrm>
                <a:off x="527313" y="5542812"/>
                <a:ext cx="81392" cy="118139"/>
              </a:xfrm>
              <a:custGeom>
                <a:avLst/>
                <a:gdLst>
                  <a:gd name="T0" fmla="*/ 208 w 505"/>
                  <a:gd name="T1" fmla="*/ 733 h 733"/>
                  <a:gd name="T2" fmla="*/ 208 w 505"/>
                  <a:gd name="T3" fmla="*/ 733 h 733"/>
                  <a:gd name="T4" fmla="*/ 242 w 505"/>
                  <a:gd name="T5" fmla="*/ 675 h 733"/>
                  <a:gd name="T6" fmla="*/ 274 w 505"/>
                  <a:gd name="T7" fmla="*/ 615 h 733"/>
                  <a:gd name="T8" fmla="*/ 340 w 505"/>
                  <a:gd name="T9" fmla="*/ 489 h 733"/>
                  <a:gd name="T10" fmla="*/ 403 w 505"/>
                  <a:gd name="T11" fmla="*/ 361 h 733"/>
                  <a:gd name="T12" fmla="*/ 435 w 505"/>
                  <a:gd name="T13" fmla="*/ 302 h 733"/>
                  <a:gd name="T14" fmla="*/ 469 w 505"/>
                  <a:gd name="T15" fmla="*/ 244 h 733"/>
                  <a:gd name="T16" fmla="*/ 469 w 505"/>
                  <a:gd name="T17" fmla="*/ 244 h 733"/>
                  <a:gd name="T18" fmla="*/ 481 w 505"/>
                  <a:gd name="T19" fmla="*/ 222 h 733"/>
                  <a:gd name="T20" fmla="*/ 493 w 505"/>
                  <a:gd name="T21" fmla="*/ 194 h 733"/>
                  <a:gd name="T22" fmla="*/ 501 w 505"/>
                  <a:gd name="T23" fmla="*/ 162 h 733"/>
                  <a:gd name="T24" fmla="*/ 505 w 505"/>
                  <a:gd name="T25" fmla="*/ 146 h 733"/>
                  <a:gd name="T26" fmla="*/ 505 w 505"/>
                  <a:gd name="T27" fmla="*/ 128 h 733"/>
                  <a:gd name="T28" fmla="*/ 505 w 505"/>
                  <a:gd name="T29" fmla="*/ 112 h 733"/>
                  <a:gd name="T30" fmla="*/ 503 w 505"/>
                  <a:gd name="T31" fmla="*/ 96 h 733"/>
                  <a:gd name="T32" fmla="*/ 499 w 505"/>
                  <a:gd name="T33" fmla="*/ 80 h 733"/>
                  <a:gd name="T34" fmla="*/ 493 w 505"/>
                  <a:gd name="T35" fmla="*/ 66 h 733"/>
                  <a:gd name="T36" fmla="*/ 485 w 505"/>
                  <a:gd name="T37" fmla="*/ 52 h 733"/>
                  <a:gd name="T38" fmla="*/ 473 w 505"/>
                  <a:gd name="T39" fmla="*/ 40 h 733"/>
                  <a:gd name="T40" fmla="*/ 459 w 505"/>
                  <a:gd name="T41" fmla="*/ 28 h 733"/>
                  <a:gd name="T42" fmla="*/ 441 w 505"/>
                  <a:gd name="T43" fmla="*/ 20 h 733"/>
                  <a:gd name="T44" fmla="*/ 441 w 505"/>
                  <a:gd name="T45" fmla="*/ 20 h 733"/>
                  <a:gd name="T46" fmla="*/ 427 w 505"/>
                  <a:gd name="T47" fmla="*/ 12 h 733"/>
                  <a:gd name="T48" fmla="*/ 415 w 505"/>
                  <a:gd name="T49" fmla="*/ 6 h 733"/>
                  <a:gd name="T50" fmla="*/ 401 w 505"/>
                  <a:gd name="T51" fmla="*/ 2 h 733"/>
                  <a:gd name="T52" fmla="*/ 387 w 505"/>
                  <a:gd name="T53" fmla="*/ 0 h 733"/>
                  <a:gd name="T54" fmla="*/ 376 w 505"/>
                  <a:gd name="T55" fmla="*/ 0 h 733"/>
                  <a:gd name="T56" fmla="*/ 364 w 505"/>
                  <a:gd name="T57" fmla="*/ 0 h 733"/>
                  <a:gd name="T58" fmla="*/ 352 w 505"/>
                  <a:gd name="T59" fmla="*/ 4 h 733"/>
                  <a:gd name="T60" fmla="*/ 342 w 505"/>
                  <a:gd name="T61" fmla="*/ 8 h 733"/>
                  <a:gd name="T62" fmla="*/ 322 w 505"/>
                  <a:gd name="T63" fmla="*/ 18 h 733"/>
                  <a:gd name="T64" fmla="*/ 306 w 505"/>
                  <a:gd name="T65" fmla="*/ 32 h 733"/>
                  <a:gd name="T66" fmla="*/ 292 w 505"/>
                  <a:gd name="T67" fmla="*/ 46 h 733"/>
                  <a:gd name="T68" fmla="*/ 280 w 505"/>
                  <a:gd name="T69" fmla="*/ 62 h 733"/>
                  <a:gd name="T70" fmla="*/ 280 w 505"/>
                  <a:gd name="T71" fmla="*/ 62 h 733"/>
                  <a:gd name="T72" fmla="*/ 210 w 505"/>
                  <a:gd name="T73" fmla="*/ 176 h 733"/>
                  <a:gd name="T74" fmla="*/ 140 w 505"/>
                  <a:gd name="T75" fmla="*/ 290 h 733"/>
                  <a:gd name="T76" fmla="*/ 2 w 505"/>
                  <a:gd name="T77" fmla="*/ 517 h 733"/>
                  <a:gd name="T78" fmla="*/ 2 w 505"/>
                  <a:gd name="T79" fmla="*/ 517 h 733"/>
                  <a:gd name="T80" fmla="*/ 0 w 505"/>
                  <a:gd name="T81" fmla="*/ 517 h 733"/>
                  <a:gd name="T82" fmla="*/ 0 w 505"/>
                  <a:gd name="T83" fmla="*/ 517 h 733"/>
                  <a:gd name="T84" fmla="*/ 16 w 505"/>
                  <a:gd name="T85" fmla="*/ 527 h 733"/>
                  <a:gd name="T86" fmla="*/ 30 w 505"/>
                  <a:gd name="T87" fmla="*/ 539 h 733"/>
                  <a:gd name="T88" fmla="*/ 42 w 505"/>
                  <a:gd name="T89" fmla="*/ 551 h 733"/>
                  <a:gd name="T90" fmla="*/ 56 w 505"/>
                  <a:gd name="T91" fmla="*/ 567 h 733"/>
                  <a:gd name="T92" fmla="*/ 80 w 505"/>
                  <a:gd name="T93" fmla="*/ 599 h 733"/>
                  <a:gd name="T94" fmla="*/ 102 w 505"/>
                  <a:gd name="T95" fmla="*/ 631 h 733"/>
                  <a:gd name="T96" fmla="*/ 126 w 505"/>
                  <a:gd name="T97" fmla="*/ 665 h 733"/>
                  <a:gd name="T98" fmla="*/ 138 w 505"/>
                  <a:gd name="T99" fmla="*/ 679 h 733"/>
                  <a:gd name="T100" fmla="*/ 150 w 505"/>
                  <a:gd name="T101" fmla="*/ 693 h 733"/>
                  <a:gd name="T102" fmla="*/ 164 w 505"/>
                  <a:gd name="T103" fmla="*/ 707 h 733"/>
                  <a:gd name="T104" fmla="*/ 178 w 505"/>
                  <a:gd name="T105" fmla="*/ 717 h 733"/>
                  <a:gd name="T106" fmla="*/ 192 w 505"/>
                  <a:gd name="T107" fmla="*/ 727 h 733"/>
                  <a:gd name="T108" fmla="*/ 208 w 505"/>
                  <a:gd name="T109" fmla="*/ 733 h 733"/>
                  <a:gd name="T110" fmla="*/ 208 w 505"/>
                  <a:gd name="T111" fmla="*/ 73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5" h="733">
                    <a:moveTo>
                      <a:pt x="208" y="733"/>
                    </a:moveTo>
                    <a:lnTo>
                      <a:pt x="208" y="733"/>
                    </a:lnTo>
                    <a:lnTo>
                      <a:pt x="242" y="675"/>
                    </a:lnTo>
                    <a:lnTo>
                      <a:pt x="274" y="615"/>
                    </a:lnTo>
                    <a:lnTo>
                      <a:pt x="340" y="489"/>
                    </a:lnTo>
                    <a:lnTo>
                      <a:pt x="403" y="361"/>
                    </a:lnTo>
                    <a:lnTo>
                      <a:pt x="435" y="302"/>
                    </a:lnTo>
                    <a:lnTo>
                      <a:pt x="469" y="244"/>
                    </a:lnTo>
                    <a:lnTo>
                      <a:pt x="469" y="244"/>
                    </a:lnTo>
                    <a:lnTo>
                      <a:pt x="481" y="222"/>
                    </a:lnTo>
                    <a:lnTo>
                      <a:pt x="493" y="194"/>
                    </a:lnTo>
                    <a:lnTo>
                      <a:pt x="501" y="162"/>
                    </a:lnTo>
                    <a:lnTo>
                      <a:pt x="505" y="146"/>
                    </a:lnTo>
                    <a:lnTo>
                      <a:pt x="505" y="128"/>
                    </a:lnTo>
                    <a:lnTo>
                      <a:pt x="505" y="112"/>
                    </a:lnTo>
                    <a:lnTo>
                      <a:pt x="503" y="96"/>
                    </a:lnTo>
                    <a:lnTo>
                      <a:pt x="499" y="80"/>
                    </a:lnTo>
                    <a:lnTo>
                      <a:pt x="493" y="66"/>
                    </a:lnTo>
                    <a:lnTo>
                      <a:pt x="485" y="52"/>
                    </a:lnTo>
                    <a:lnTo>
                      <a:pt x="473" y="40"/>
                    </a:lnTo>
                    <a:lnTo>
                      <a:pt x="459" y="28"/>
                    </a:lnTo>
                    <a:lnTo>
                      <a:pt x="441" y="20"/>
                    </a:lnTo>
                    <a:lnTo>
                      <a:pt x="441" y="20"/>
                    </a:lnTo>
                    <a:lnTo>
                      <a:pt x="427" y="12"/>
                    </a:lnTo>
                    <a:lnTo>
                      <a:pt x="415" y="6"/>
                    </a:lnTo>
                    <a:lnTo>
                      <a:pt x="401" y="2"/>
                    </a:lnTo>
                    <a:lnTo>
                      <a:pt x="387" y="0"/>
                    </a:lnTo>
                    <a:lnTo>
                      <a:pt x="376" y="0"/>
                    </a:lnTo>
                    <a:lnTo>
                      <a:pt x="364" y="0"/>
                    </a:lnTo>
                    <a:lnTo>
                      <a:pt x="352" y="4"/>
                    </a:lnTo>
                    <a:lnTo>
                      <a:pt x="342" y="8"/>
                    </a:lnTo>
                    <a:lnTo>
                      <a:pt x="322" y="18"/>
                    </a:lnTo>
                    <a:lnTo>
                      <a:pt x="306" y="32"/>
                    </a:lnTo>
                    <a:lnTo>
                      <a:pt x="292" y="46"/>
                    </a:lnTo>
                    <a:lnTo>
                      <a:pt x="280" y="62"/>
                    </a:lnTo>
                    <a:lnTo>
                      <a:pt x="280" y="62"/>
                    </a:lnTo>
                    <a:lnTo>
                      <a:pt x="210" y="176"/>
                    </a:lnTo>
                    <a:lnTo>
                      <a:pt x="140" y="290"/>
                    </a:lnTo>
                    <a:lnTo>
                      <a:pt x="2" y="517"/>
                    </a:lnTo>
                    <a:lnTo>
                      <a:pt x="2" y="517"/>
                    </a:lnTo>
                    <a:lnTo>
                      <a:pt x="0" y="517"/>
                    </a:lnTo>
                    <a:lnTo>
                      <a:pt x="0" y="517"/>
                    </a:lnTo>
                    <a:lnTo>
                      <a:pt x="16" y="527"/>
                    </a:lnTo>
                    <a:lnTo>
                      <a:pt x="30" y="539"/>
                    </a:lnTo>
                    <a:lnTo>
                      <a:pt x="42" y="551"/>
                    </a:lnTo>
                    <a:lnTo>
                      <a:pt x="56" y="567"/>
                    </a:lnTo>
                    <a:lnTo>
                      <a:pt x="80" y="599"/>
                    </a:lnTo>
                    <a:lnTo>
                      <a:pt x="102" y="631"/>
                    </a:lnTo>
                    <a:lnTo>
                      <a:pt x="126" y="665"/>
                    </a:lnTo>
                    <a:lnTo>
                      <a:pt x="138" y="679"/>
                    </a:lnTo>
                    <a:lnTo>
                      <a:pt x="150" y="693"/>
                    </a:lnTo>
                    <a:lnTo>
                      <a:pt x="164" y="707"/>
                    </a:lnTo>
                    <a:lnTo>
                      <a:pt x="178" y="717"/>
                    </a:lnTo>
                    <a:lnTo>
                      <a:pt x="192" y="727"/>
                    </a:lnTo>
                    <a:lnTo>
                      <a:pt x="208" y="733"/>
                    </a:lnTo>
                    <a:lnTo>
                      <a:pt x="208" y="73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1" name="Freeform 9"/>
              <p:cNvSpPr>
                <a:spLocks/>
              </p:cNvSpPr>
              <p:nvPr/>
            </p:nvSpPr>
            <p:spPr bwMode="auto">
              <a:xfrm>
                <a:off x="517159" y="5569244"/>
                <a:ext cx="77362" cy="105406"/>
              </a:xfrm>
              <a:custGeom>
                <a:avLst/>
                <a:gdLst>
                  <a:gd name="T0" fmla="*/ 287 w 480"/>
                  <a:gd name="T1" fmla="*/ 0 h 654"/>
                  <a:gd name="T2" fmla="*/ 287 w 480"/>
                  <a:gd name="T3" fmla="*/ 0 h 654"/>
                  <a:gd name="T4" fmla="*/ 151 w 480"/>
                  <a:gd name="T5" fmla="*/ 219 h 654"/>
                  <a:gd name="T6" fmla="*/ 16 w 480"/>
                  <a:gd name="T7" fmla="*/ 441 h 654"/>
                  <a:gd name="T8" fmla="*/ 16 w 480"/>
                  <a:gd name="T9" fmla="*/ 441 h 654"/>
                  <a:gd name="T10" fmla="*/ 10 w 480"/>
                  <a:gd name="T11" fmla="*/ 451 h 654"/>
                  <a:gd name="T12" fmla="*/ 6 w 480"/>
                  <a:gd name="T13" fmla="*/ 463 h 654"/>
                  <a:gd name="T14" fmla="*/ 4 w 480"/>
                  <a:gd name="T15" fmla="*/ 475 h 654"/>
                  <a:gd name="T16" fmla="*/ 2 w 480"/>
                  <a:gd name="T17" fmla="*/ 487 h 654"/>
                  <a:gd name="T18" fmla="*/ 0 w 480"/>
                  <a:gd name="T19" fmla="*/ 501 h 654"/>
                  <a:gd name="T20" fmla="*/ 2 w 480"/>
                  <a:gd name="T21" fmla="*/ 513 h 654"/>
                  <a:gd name="T22" fmla="*/ 4 w 480"/>
                  <a:gd name="T23" fmla="*/ 527 h 654"/>
                  <a:gd name="T24" fmla="*/ 8 w 480"/>
                  <a:gd name="T25" fmla="*/ 541 h 654"/>
                  <a:gd name="T26" fmla="*/ 14 w 480"/>
                  <a:gd name="T27" fmla="*/ 555 h 654"/>
                  <a:gd name="T28" fmla="*/ 22 w 480"/>
                  <a:gd name="T29" fmla="*/ 569 h 654"/>
                  <a:gd name="T30" fmla="*/ 30 w 480"/>
                  <a:gd name="T31" fmla="*/ 581 h 654"/>
                  <a:gd name="T32" fmla="*/ 42 w 480"/>
                  <a:gd name="T33" fmla="*/ 593 h 654"/>
                  <a:gd name="T34" fmla="*/ 54 w 480"/>
                  <a:gd name="T35" fmla="*/ 605 h 654"/>
                  <a:gd name="T36" fmla="*/ 67 w 480"/>
                  <a:gd name="T37" fmla="*/ 615 h 654"/>
                  <a:gd name="T38" fmla="*/ 83 w 480"/>
                  <a:gd name="T39" fmla="*/ 624 h 654"/>
                  <a:gd name="T40" fmla="*/ 101 w 480"/>
                  <a:gd name="T41" fmla="*/ 632 h 654"/>
                  <a:gd name="T42" fmla="*/ 101 w 480"/>
                  <a:gd name="T43" fmla="*/ 632 h 654"/>
                  <a:gd name="T44" fmla="*/ 115 w 480"/>
                  <a:gd name="T45" fmla="*/ 640 h 654"/>
                  <a:gd name="T46" fmla="*/ 127 w 480"/>
                  <a:gd name="T47" fmla="*/ 646 h 654"/>
                  <a:gd name="T48" fmla="*/ 141 w 480"/>
                  <a:gd name="T49" fmla="*/ 650 h 654"/>
                  <a:gd name="T50" fmla="*/ 155 w 480"/>
                  <a:gd name="T51" fmla="*/ 652 h 654"/>
                  <a:gd name="T52" fmla="*/ 167 w 480"/>
                  <a:gd name="T53" fmla="*/ 654 h 654"/>
                  <a:gd name="T54" fmla="*/ 179 w 480"/>
                  <a:gd name="T55" fmla="*/ 652 h 654"/>
                  <a:gd name="T56" fmla="*/ 189 w 480"/>
                  <a:gd name="T57" fmla="*/ 650 h 654"/>
                  <a:gd name="T58" fmla="*/ 201 w 480"/>
                  <a:gd name="T59" fmla="*/ 646 h 654"/>
                  <a:gd name="T60" fmla="*/ 221 w 480"/>
                  <a:gd name="T61" fmla="*/ 636 h 654"/>
                  <a:gd name="T62" fmla="*/ 237 w 480"/>
                  <a:gd name="T63" fmla="*/ 623 h 654"/>
                  <a:gd name="T64" fmla="*/ 251 w 480"/>
                  <a:gd name="T65" fmla="*/ 607 h 654"/>
                  <a:gd name="T66" fmla="*/ 263 w 480"/>
                  <a:gd name="T67" fmla="*/ 591 h 654"/>
                  <a:gd name="T68" fmla="*/ 263 w 480"/>
                  <a:gd name="T69" fmla="*/ 591 h 654"/>
                  <a:gd name="T70" fmla="*/ 279 w 480"/>
                  <a:gd name="T71" fmla="*/ 563 h 654"/>
                  <a:gd name="T72" fmla="*/ 293 w 480"/>
                  <a:gd name="T73" fmla="*/ 535 h 654"/>
                  <a:gd name="T74" fmla="*/ 307 w 480"/>
                  <a:gd name="T75" fmla="*/ 507 h 654"/>
                  <a:gd name="T76" fmla="*/ 317 w 480"/>
                  <a:gd name="T77" fmla="*/ 479 h 654"/>
                  <a:gd name="T78" fmla="*/ 339 w 480"/>
                  <a:gd name="T79" fmla="*/ 421 h 654"/>
                  <a:gd name="T80" fmla="*/ 357 w 480"/>
                  <a:gd name="T81" fmla="*/ 363 h 654"/>
                  <a:gd name="T82" fmla="*/ 377 w 480"/>
                  <a:gd name="T83" fmla="*/ 305 h 654"/>
                  <a:gd name="T84" fmla="*/ 397 w 480"/>
                  <a:gd name="T85" fmla="*/ 247 h 654"/>
                  <a:gd name="T86" fmla="*/ 409 w 480"/>
                  <a:gd name="T87" fmla="*/ 217 h 654"/>
                  <a:gd name="T88" fmla="*/ 423 w 480"/>
                  <a:gd name="T89" fmla="*/ 188 h 654"/>
                  <a:gd name="T90" fmla="*/ 439 w 480"/>
                  <a:gd name="T91" fmla="*/ 160 h 654"/>
                  <a:gd name="T92" fmla="*/ 454 w 480"/>
                  <a:gd name="T93" fmla="*/ 130 h 654"/>
                  <a:gd name="T94" fmla="*/ 454 w 480"/>
                  <a:gd name="T95" fmla="*/ 130 h 654"/>
                  <a:gd name="T96" fmla="*/ 480 w 480"/>
                  <a:gd name="T97" fmla="*/ 136 h 654"/>
                  <a:gd name="T98" fmla="*/ 480 w 480"/>
                  <a:gd name="T99" fmla="*/ 136 h 654"/>
                  <a:gd name="T100" fmla="*/ 450 w 480"/>
                  <a:gd name="T101" fmla="*/ 118 h 654"/>
                  <a:gd name="T102" fmla="*/ 427 w 480"/>
                  <a:gd name="T103" fmla="*/ 100 h 654"/>
                  <a:gd name="T104" fmla="*/ 405 w 480"/>
                  <a:gd name="T105" fmla="*/ 80 h 654"/>
                  <a:gd name="T106" fmla="*/ 385 w 480"/>
                  <a:gd name="T107" fmla="*/ 62 h 654"/>
                  <a:gd name="T108" fmla="*/ 365 w 480"/>
                  <a:gd name="T109" fmla="*/ 44 h 654"/>
                  <a:gd name="T110" fmla="*/ 343 w 480"/>
                  <a:gd name="T111" fmla="*/ 26 h 654"/>
                  <a:gd name="T112" fmla="*/ 317 w 480"/>
                  <a:gd name="T113" fmla="*/ 12 h 654"/>
                  <a:gd name="T114" fmla="*/ 301 w 480"/>
                  <a:gd name="T115" fmla="*/ 4 h 654"/>
                  <a:gd name="T116" fmla="*/ 287 w 480"/>
                  <a:gd name="T117" fmla="*/ 0 h 654"/>
                  <a:gd name="T118" fmla="*/ 287 w 480"/>
                  <a:gd name="T119"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0" h="654">
                    <a:moveTo>
                      <a:pt x="287" y="0"/>
                    </a:moveTo>
                    <a:lnTo>
                      <a:pt x="287" y="0"/>
                    </a:lnTo>
                    <a:lnTo>
                      <a:pt x="151" y="219"/>
                    </a:lnTo>
                    <a:lnTo>
                      <a:pt x="16" y="441"/>
                    </a:lnTo>
                    <a:lnTo>
                      <a:pt x="16" y="441"/>
                    </a:lnTo>
                    <a:lnTo>
                      <a:pt x="10" y="451"/>
                    </a:lnTo>
                    <a:lnTo>
                      <a:pt x="6" y="463"/>
                    </a:lnTo>
                    <a:lnTo>
                      <a:pt x="4" y="475"/>
                    </a:lnTo>
                    <a:lnTo>
                      <a:pt x="2" y="487"/>
                    </a:lnTo>
                    <a:lnTo>
                      <a:pt x="0" y="501"/>
                    </a:lnTo>
                    <a:lnTo>
                      <a:pt x="2" y="513"/>
                    </a:lnTo>
                    <a:lnTo>
                      <a:pt x="4" y="527"/>
                    </a:lnTo>
                    <a:lnTo>
                      <a:pt x="8" y="541"/>
                    </a:lnTo>
                    <a:lnTo>
                      <a:pt x="14" y="555"/>
                    </a:lnTo>
                    <a:lnTo>
                      <a:pt x="22" y="569"/>
                    </a:lnTo>
                    <a:lnTo>
                      <a:pt x="30" y="581"/>
                    </a:lnTo>
                    <a:lnTo>
                      <a:pt x="42" y="593"/>
                    </a:lnTo>
                    <a:lnTo>
                      <a:pt x="54" y="605"/>
                    </a:lnTo>
                    <a:lnTo>
                      <a:pt x="67" y="615"/>
                    </a:lnTo>
                    <a:lnTo>
                      <a:pt x="83" y="624"/>
                    </a:lnTo>
                    <a:lnTo>
                      <a:pt x="101" y="632"/>
                    </a:lnTo>
                    <a:lnTo>
                      <a:pt x="101" y="632"/>
                    </a:lnTo>
                    <a:lnTo>
                      <a:pt x="115" y="640"/>
                    </a:lnTo>
                    <a:lnTo>
                      <a:pt x="127" y="646"/>
                    </a:lnTo>
                    <a:lnTo>
                      <a:pt x="141" y="650"/>
                    </a:lnTo>
                    <a:lnTo>
                      <a:pt x="155" y="652"/>
                    </a:lnTo>
                    <a:lnTo>
                      <a:pt x="167" y="654"/>
                    </a:lnTo>
                    <a:lnTo>
                      <a:pt x="179" y="652"/>
                    </a:lnTo>
                    <a:lnTo>
                      <a:pt x="189" y="650"/>
                    </a:lnTo>
                    <a:lnTo>
                      <a:pt x="201" y="646"/>
                    </a:lnTo>
                    <a:lnTo>
                      <a:pt x="221" y="636"/>
                    </a:lnTo>
                    <a:lnTo>
                      <a:pt x="237" y="623"/>
                    </a:lnTo>
                    <a:lnTo>
                      <a:pt x="251" y="607"/>
                    </a:lnTo>
                    <a:lnTo>
                      <a:pt x="263" y="591"/>
                    </a:lnTo>
                    <a:lnTo>
                      <a:pt x="263" y="591"/>
                    </a:lnTo>
                    <a:lnTo>
                      <a:pt x="279" y="563"/>
                    </a:lnTo>
                    <a:lnTo>
                      <a:pt x="293" y="535"/>
                    </a:lnTo>
                    <a:lnTo>
                      <a:pt x="307" y="507"/>
                    </a:lnTo>
                    <a:lnTo>
                      <a:pt x="317" y="479"/>
                    </a:lnTo>
                    <a:lnTo>
                      <a:pt x="339" y="421"/>
                    </a:lnTo>
                    <a:lnTo>
                      <a:pt x="357" y="363"/>
                    </a:lnTo>
                    <a:lnTo>
                      <a:pt x="377" y="305"/>
                    </a:lnTo>
                    <a:lnTo>
                      <a:pt x="397" y="247"/>
                    </a:lnTo>
                    <a:lnTo>
                      <a:pt x="409" y="217"/>
                    </a:lnTo>
                    <a:lnTo>
                      <a:pt x="423" y="188"/>
                    </a:lnTo>
                    <a:lnTo>
                      <a:pt x="439" y="160"/>
                    </a:lnTo>
                    <a:lnTo>
                      <a:pt x="454" y="130"/>
                    </a:lnTo>
                    <a:lnTo>
                      <a:pt x="454" y="130"/>
                    </a:lnTo>
                    <a:lnTo>
                      <a:pt x="480" y="136"/>
                    </a:lnTo>
                    <a:lnTo>
                      <a:pt x="480" y="136"/>
                    </a:lnTo>
                    <a:lnTo>
                      <a:pt x="450" y="118"/>
                    </a:lnTo>
                    <a:lnTo>
                      <a:pt x="427" y="100"/>
                    </a:lnTo>
                    <a:lnTo>
                      <a:pt x="405" y="80"/>
                    </a:lnTo>
                    <a:lnTo>
                      <a:pt x="385" y="62"/>
                    </a:lnTo>
                    <a:lnTo>
                      <a:pt x="365" y="44"/>
                    </a:lnTo>
                    <a:lnTo>
                      <a:pt x="343" y="26"/>
                    </a:lnTo>
                    <a:lnTo>
                      <a:pt x="317" y="12"/>
                    </a:lnTo>
                    <a:lnTo>
                      <a:pt x="301" y="4"/>
                    </a:lnTo>
                    <a:lnTo>
                      <a:pt x="287" y="0"/>
                    </a:lnTo>
                    <a:lnTo>
                      <a:pt x="287"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2" name="Freeform 10"/>
              <p:cNvSpPr>
                <a:spLocks/>
              </p:cNvSpPr>
              <p:nvPr/>
            </p:nvSpPr>
            <p:spPr bwMode="auto">
              <a:xfrm>
                <a:off x="517481" y="5512350"/>
                <a:ext cx="60117" cy="153436"/>
              </a:xfrm>
              <a:custGeom>
                <a:avLst/>
                <a:gdLst>
                  <a:gd name="T0" fmla="*/ 209 w 373"/>
                  <a:gd name="T1" fmla="*/ 491 h 952"/>
                  <a:gd name="T2" fmla="*/ 85 w 373"/>
                  <a:gd name="T3" fmla="*/ 0 h 952"/>
                  <a:gd name="T4" fmla="*/ 75 w 373"/>
                  <a:gd name="T5" fmla="*/ 4 h 952"/>
                  <a:gd name="T6" fmla="*/ 65 w 373"/>
                  <a:gd name="T7" fmla="*/ 12 h 952"/>
                  <a:gd name="T8" fmla="*/ 54 w 373"/>
                  <a:gd name="T9" fmla="*/ 46 h 952"/>
                  <a:gd name="T10" fmla="*/ 46 w 373"/>
                  <a:gd name="T11" fmla="*/ 96 h 952"/>
                  <a:gd name="T12" fmla="*/ 36 w 373"/>
                  <a:gd name="T13" fmla="*/ 207 h 952"/>
                  <a:gd name="T14" fmla="*/ 28 w 373"/>
                  <a:gd name="T15" fmla="*/ 257 h 952"/>
                  <a:gd name="T16" fmla="*/ 18 w 373"/>
                  <a:gd name="T17" fmla="*/ 293 h 952"/>
                  <a:gd name="T18" fmla="*/ 4 w 373"/>
                  <a:gd name="T19" fmla="*/ 309 h 952"/>
                  <a:gd name="T20" fmla="*/ 0 w 373"/>
                  <a:gd name="T21" fmla="*/ 311 h 952"/>
                  <a:gd name="T22" fmla="*/ 0 w 373"/>
                  <a:gd name="T23" fmla="*/ 828 h 952"/>
                  <a:gd name="T24" fmla="*/ 0 w 373"/>
                  <a:gd name="T25" fmla="*/ 840 h 952"/>
                  <a:gd name="T26" fmla="*/ 6 w 373"/>
                  <a:gd name="T27" fmla="*/ 864 h 952"/>
                  <a:gd name="T28" fmla="*/ 16 w 373"/>
                  <a:gd name="T29" fmla="*/ 888 h 952"/>
                  <a:gd name="T30" fmla="*/ 34 w 373"/>
                  <a:gd name="T31" fmla="*/ 910 h 952"/>
                  <a:gd name="T32" fmla="*/ 58 w 373"/>
                  <a:gd name="T33" fmla="*/ 928 h 952"/>
                  <a:gd name="T34" fmla="*/ 83 w 373"/>
                  <a:gd name="T35" fmla="*/ 942 h 952"/>
                  <a:gd name="T36" fmla="*/ 115 w 373"/>
                  <a:gd name="T37" fmla="*/ 950 h 952"/>
                  <a:gd name="T38" fmla="*/ 151 w 373"/>
                  <a:gd name="T39" fmla="*/ 952 h 952"/>
                  <a:gd name="T40" fmla="*/ 171 w 373"/>
                  <a:gd name="T41" fmla="*/ 950 h 952"/>
                  <a:gd name="T42" fmla="*/ 203 w 373"/>
                  <a:gd name="T43" fmla="*/ 946 h 952"/>
                  <a:gd name="T44" fmla="*/ 227 w 373"/>
                  <a:gd name="T45" fmla="*/ 938 h 952"/>
                  <a:gd name="T46" fmla="*/ 249 w 373"/>
                  <a:gd name="T47" fmla="*/ 926 h 952"/>
                  <a:gd name="T48" fmla="*/ 265 w 373"/>
                  <a:gd name="T49" fmla="*/ 908 h 952"/>
                  <a:gd name="T50" fmla="*/ 283 w 373"/>
                  <a:gd name="T51" fmla="*/ 868 h 952"/>
                  <a:gd name="T52" fmla="*/ 287 w 373"/>
                  <a:gd name="T53" fmla="*/ 828 h 952"/>
                  <a:gd name="T54" fmla="*/ 289 w 373"/>
                  <a:gd name="T55" fmla="*/ 804 h 952"/>
                  <a:gd name="T56" fmla="*/ 301 w 373"/>
                  <a:gd name="T57" fmla="*/ 700 h 952"/>
                  <a:gd name="T58" fmla="*/ 331 w 373"/>
                  <a:gd name="T59" fmla="*/ 531 h 952"/>
                  <a:gd name="T60" fmla="*/ 359 w 373"/>
                  <a:gd name="T61" fmla="*/ 359 h 952"/>
                  <a:gd name="T62" fmla="*/ 373 w 373"/>
                  <a:gd name="T63" fmla="*/ 257 h 952"/>
                  <a:gd name="T64" fmla="*/ 373 w 373"/>
                  <a:gd name="T65" fmla="*/ 231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952">
                    <a:moveTo>
                      <a:pt x="373" y="231"/>
                    </a:moveTo>
                    <a:lnTo>
                      <a:pt x="209" y="491"/>
                    </a:lnTo>
                    <a:lnTo>
                      <a:pt x="85" y="0"/>
                    </a:lnTo>
                    <a:lnTo>
                      <a:pt x="85" y="0"/>
                    </a:lnTo>
                    <a:lnTo>
                      <a:pt x="79" y="0"/>
                    </a:lnTo>
                    <a:lnTo>
                      <a:pt x="75" y="4"/>
                    </a:lnTo>
                    <a:lnTo>
                      <a:pt x="69" y="8"/>
                    </a:lnTo>
                    <a:lnTo>
                      <a:pt x="65" y="12"/>
                    </a:lnTo>
                    <a:lnTo>
                      <a:pt x="60" y="28"/>
                    </a:lnTo>
                    <a:lnTo>
                      <a:pt x="54" y="46"/>
                    </a:lnTo>
                    <a:lnTo>
                      <a:pt x="50" y="70"/>
                    </a:lnTo>
                    <a:lnTo>
                      <a:pt x="46" y="96"/>
                    </a:lnTo>
                    <a:lnTo>
                      <a:pt x="40" y="149"/>
                    </a:lnTo>
                    <a:lnTo>
                      <a:pt x="36" y="207"/>
                    </a:lnTo>
                    <a:lnTo>
                      <a:pt x="32" y="233"/>
                    </a:lnTo>
                    <a:lnTo>
                      <a:pt x="28" y="257"/>
                    </a:lnTo>
                    <a:lnTo>
                      <a:pt x="24" y="277"/>
                    </a:lnTo>
                    <a:lnTo>
                      <a:pt x="18" y="293"/>
                    </a:lnTo>
                    <a:lnTo>
                      <a:pt x="10" y="305"/>
                    </a:lnTo>
                    <a:lnTo>
                      <a:pt x="4" y="309"/>
                    </a:lnTo>
                    <a:lnTo>
                      <a:pt x="0" y="311"/>
                    </a:lnTo>
                    <a:lnTo>
                      <a:pt x="0" y="311"/>
                    </a:lnTo>
                    <a:lnTo>
                      <a:pt x="0" y="570"/>
                    </a:lnTo>
                    <a:lnTo>
                      <a:pt x="0" y="828"/>
                    </a:lnTo>
                    <a:lnTo>
                      <a:pt x="0" y="828"/>
                    </a:lnTo>
                    <a:lnTo>
                      <a:pt x="0" y="840"/>
                    </a:lnTo>
                    <a:lnTo>
                      <a:pt x="2" y="852"/>
                    </a:lnTo>
                    <a:lnTo>
                      <a:pt x="6" y="864"/>
                    </a:lnTo>
                    <a:lnTo>
                      <a:pt x="10" y="876"/>
                    </a:lnTo>
                    <a:lnTo>
                      <a:pt x="16" y="888"/>
                    </a:lnTo>
                    <a:lnTo>
                      <a:pt x="24" y="898"/>
                    </a:lnTo>
                    <a:lnTo>
                      <a:pt x="34" y="910"/>
                    </a:lnTo>
                    <a:lnTo>
                      <a:pt x="46" y="918"/>
                    </a:lnTo>
                    <a:lnTo>
                      <a:pt x="58" y="928"/>
                    </a:lnTo>
                    <a:lnTo>
                      <a:pt x="69" y="936"/>
                    </a:lnTo>
                    <a:lnTo>
                      <a:pt x="83" y="942"/>
                    </a:lnTo>
                    <a:lnTo>
                      <a:pt x="99" y="946"/>
                    </a:lnTo>
                    <a:lnTo>
                      <a:pt x="115" y="950"/>
                    </a:lnTo>
                    <a:lnTo>
                      <a:pt x="133" y="952"/>
                    </a:lnTo>
                    <a:lnTo>
                      <a:pt x="151" y="952"/>
                    </a:lnTo>
                    <a:lnTo>
                      <a:pt x="171" y="950"/>
                    </a:lnTo>
                    <a:lnTo>
                      <a:pt x="171" y="950"/>
                    </a:lnTo>
                    <a:lnTo>
                      <a:pt x="187" y="950"/>
                    </a:lnTo>
                    <a:lnTo>
                      <a:pt x="203" y="946"/>
                    </a:lnTo>
                    <a:lnTo>
                      <a:pt x="215" y="944"/>
                    </a:lnTo>
                    <a:lnTo>
                      <a:pt x="227" y="938"/>
                    </a:lnTo>
                    <a:lnTo>
                      <a:pt x="239" y="932"/>
                    </a:lnTo>
                    <a:lnTo>
                      <a:pt x="249" y="926"/>
                    </a:lnTo>
                    <a:lnTo>
                      <a:pt x="257" y="918"/>
                    </a:lnTo>
                    <a:lnTo>
                      <a:pt x="265" y="908"/>
                    </a:lnTo>
                    <a:lnTo>
                      <a:pt x="275" y="890"/>
                    </a:lnTo>
                    <a:lnTo>
                      <a:pt x="283" y="868"/>
                    </a:lnTo>
                    <a:lnTo>
                      <a:pt x="287" y="848"/>
                    </a:lnTo>
                    <a:lnTo>
                      <a:pt x="287" y="828"/>
                    </a:lnTo>
                    <a:lnTo>
                      <a:pt x="287" y="828"/>
                    </a:lnTo>
                    <a:lnTo>
                      <a:pt x="289" y="804"/>
                    </a:lnTo>
                    <a:lnTo>
                      <a:pt x="291" y="772"/>
                    </a:lnTo>
                    <a:lnTo>
                      <a:pt x="301" y="700"/>
                    </a:lnTo>
                    <a:lnTo>
                      <a:pt x="315" y="618"/>
                    </a:lnTo>
                    <a:lnTo>
                      <a:pt x="331" y="531"/>
                    </a:lnTo>
                    <a:lnTo>
                      <a:pt x="347" y="443"/>
                    </a:lnTo>
                    <a:lnTo>
                      <a:pt x="359" y="359"/>
                    </a:lnTo>
                    <a:lnTo>
                      <a:pt x="369" y="287"/>
                    </a:lnTo>
                    <a:lnTo>
                      <a:pt x="373" y="257"/>
                    </a:lnTo>
                    <a:lnTo>
                      <a:pt x="373" y="231"/>
                    </a:lnTo>
                    <a:lnTo>
                      <a:pt x="373" y="231"/>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3" name="Freeform 13"/>
              <p:cNvSpPr>
                <a:spLocks/>
              </p:cNvSpPr>
              <p:nvPr/>
            </p:nvSpPr>
            <p:spPr bwMode="auto">
              <a:xfrm>
                <a:off x="341482" y="5345226"/>
                <a:ext cx="183413" cy="190344"/>
              </a:xfrm>
              <a:custGeom>
                <a:avLst/>
                <a:gdLst/>
                <a:ahLst/>
                <a:cxnLst/>
                <a:rect l="l" t="t" r="r" b="b"/>
                <a:pathLst>
                  <a:path w="183413" h="190344">
                    <a:moveTo>
                      <a:pt x="89127" y="0"/>
                    </a:moveTo>
                    <a:lnTo>
                      <a:pt x="92673" y="0"/>
                    </a:lnTo>
                    <a:lnTo>
                      <a:pt x="96218" y="0"/>
                    </a:lnTo>
                    <a:lnTo>
                      <a:pt x="99764" y="323"/>
                    </a:lnTo>
                    <a:lnTo>
                      <a:pt x="102988" y="967"/>
                    </a:lnTo>
                    <a:lnTo>
                      <a:pt x="106533" y="1934"/>
                    </a:lnTo>
                    <a:lnTo>
                      <a:pt x="109757" y="3224"/>
                    </a:lnTo>
                    <a:lnTo>
                      <a:pt x="112980" y="4513"/>
                    </a:lnTo>
                    <a:lnTo>
                      <a:pt x="116204" y="5802"/>
                    </a:lnTo>
                    <a:lnTo>
                      <a:pt x="119105" y="7736"/>
                    </a:lnTo>
                    <a:lnTo>
                      <a:pt x="122328" y="9671"/>
                    </a:lnTo>
                    <a:lnTo>
                      <a:pt x="124746" y="11605"/>
                    </a:lnTo>
                    <a:lnTo>
                      <a:pt x="127647" y="13861"/>
                    </a:lnTo>
                    <a:lnTo>
                      <a:pt x="130226" y="16440"/>
                    </a:lnTo>
                    <a:lnTo>
                      <a:pt x="132804" y="18696"/>
                    </a:lnTo>
                    <a:lnTo>
                      <a:pt x="135061" y="21597"/>
                    </a:lnTo>
                    <a:lnTo>
                      <a:pt x="136995" y="24176"/>
                    </a:lnTo>
                    <a:lnTo>
                      <a:pt x="139251" y="27077"/>
                    </a:lnTo>
                    <a:lnTo>
                      <a:pt x="140863" y="30301"/>
                    </a:lnTo>
                    <a:lnTo>
                      <a:pt x="142475" y="33202"/>
                    </a:lnTo>
                    <a:lnTo>
                      <a:pt x="143764" y="36264"/>
                    </a:lnTo>
                    <a:lnTo>
                      <a:pt x="145053" y="39487"/>
                    </a:lnTo>
                    <a:lnTo>
                      <a:pt x="146020" y="42711"/>
                    </a:lnTo>
                    <a:lnTo>
                      <a:pt x="146665" y="46256"/>
                    </a:lnTo>
                    <a:lnTo>
                      <a:pt x="147310" y="49480"/>
                    </a:lnTo>
                    <a:lnTo>
                      <a:pt x="147632" y="53026"/>
                    </a:lnTo>
                    <a:lnTo>
                      <a:pt x="147618" y="53185"/>
                    </a:lnTo>
                    <a:lnTo>
                      <a:pt x="150212" y="61729"/>
                    </a:lnTo>
                    <a:lnTo>
                      <a:pt x="153757" y="72689"/>
                    </a:lnTo>
                    <a:lnTo>
                      <a:pt x="155369" y="76880"/>
                    </a:lnTo>
                    <a:lnTo>
                      <a:pt x="156336" y="79458"/>
                    </a:lnTo>
                    <a:lnTo>
                      <a:pt x="159560" y="84938"/>
                    </a:lnTo>
                    <a:lnTo>
                      <a:pt x="162783" y="90096"/>
                    </a:lnTo>
                    <a:lnTo>
                      <a:pt x="166329" y="95253"/>
                    </a:lnTo>
                    <a:lnTo>
                      <a:pt x="170519" y="100088"/>
                    </a:lnTo>
                    <a:lnTo>
                      <a:pt x="172776" y="102345"/>
                    </a:lnTo>
                    <a:lnTo>
                      <a:pt x="175032" y="104440"/>
                    </a:lnTo>
                    <a:lnTo>
                      <a:pt x="176321" y="106052"/>
                    </a:lnTo>
                    <a:lnTo>
                      <a:pt x="177933" y="107663"/>
                    </a:lnTo>
                    <a:lnTo>
                      <a:pt x="179545" y="108630"/>
                    </a:lnTo>
                    <a:lnTo>
                      <a:pt x="181157" y="109920"/>
                    </a:lnTo>
                    <a:lnTo>
                      <a:pt x="182124" y="110564"/>
                    </a:lnTo>
                    <a:lnTo>
                      <a:pt x="183091" y="111209"/>
                    </a:lnTo>
                    <a:lnTo>
                      <a:pt x="183413" y="111209"/>
                    </a:lnTo>
                    <a:lnTo>
                      <a:pt x="183413" y="111531"/>
                    </a:lnTo>
                    <a:lnTo>
                      <a:pt x="182124" y="112498"/>
                    </a:lnTo>
                    <a:lnTo>
                      <a:pt x="177288" y="114110"/>
                    </a:lnTo>
                    <a:lnTo>
                      <a:pt x="167941" y="116689"/>
                    </a:lnTo>
                    <a:lnTo>
                      <a:pt x="156014" y="121846"/>
                    </a:lnTo>
                    <a:lnTo>
                      <a:pt x="148922" y="124103"/>
                    </a:lnTo>
                    <a:lnTo>
                      <a:pt x="141831" y="126359"/>
                    </a:lnTo>
                    <a:lnTo>
                      <a:pt x="137963" y="127004"/>
                    </a:lnTo>
                    <a:lnTo>
                      <a:pt x="134417" y="127326"/>
                    </a:lnTo>
                    <a:lnTo>
                      <a:pt x="130871" y="127326"/>
                    </a:lnTo>
                    <a:lnTo>
                      <a:pt x="127648" y="127004"/>
                    </a:lnTo>
                    <a:lnTo>
                      <a:pt x="125504" y="126575"/>
                    </a:lnTo>
                    <a:lnTo>
                      <a:pt x="125391" y="126624"/>
                    </a:lnTo>
                    <a:lnTo>
                      <a:pt x="123296" y="127591"/>
                    </a:lnTo>
                    <a:lnTo>
                      <a:pt x="120395" y="128236"/>
                    </a:lnTo>
                    <a:lnTo>
                      <a:pt x="118977" y="128460"/>
                    </a:lnTo>
                    <a:lnTo>
                      <a:pt x="93318" y="190344"/>
                    </a:lnTo>
                    <a:lnTo>
                      <a:pt x="67392" y="129211"/>
                    </a:lnTo>
                    <a:lnTo>
                      <a:pt x="67208" y="129203"/>
                    </a:lnTo>
                    <a:lnTo>
                      <a:pt x="61083" y="128236"/>
                    </a:lnTo>
                    <a:lnTo>
                      <a:pt x="58343" y="127591"/>
                    </a:lnTo>
                    <a:lnTo>
                      <a:pt x="56590" y="126839"/>
                    </a:lnTo>
                    <a:lnTo>
                      <a:pt x="55766" y="127004"/>
                    </a:lnTo>
                    <a:lnTo>
                      <a:pt x="52542" y="127326"/>
                    </a:lnTo>
                    <a:lnTo>
                      <a:pt x="48996" y="127326"/>
                    </a:lnTo>
                    <a:lnTo>
                      <a:pt x="45451" y="127004"/>
                    </a:lnTo>
                    <a:lnTo>
                      <a:pt x="41582" y="126359"/>
                    </a:lnTo>
                    <a:lnTo>
                      <a:pt x="34491" y="124103"/>
                    </a:lnTo>
                    <a:lnTo>
                      <a:pt x="27399" y="121846"/>
                    </a:lnTo>
                    <a:lnTo>
                      <a:pt x="15150" y="116689"/>
                    </a:lnTo>
                    <a:lnTo>
                      <a:pt x="6125" y="114110"/>
                    </a:lnTo>
                    <a:lnTo>
                      <a:pt x="1289" y="112498"/>
                    </a:lnTo>
                    <a:lnTo>
                      <a:pt x="0" y="111531"/>
                    </a:lnTo>
                    <a:lnTo>
                      <a:pt x="0" y="111209"/>
                    </a:lnTo>
                    <a:lnTo>
                      <a:pt x="322" y="111209"/>
                    </a:lnTo>
                    <a:lnTo>
                      <a:pt x="1289" y="110564"/>
                    </a:lnTo>
                    <a:lnTo>
                      <a:pt x="1934" y="109920"/>
                    </a:lnTo>
                    <a:lnTo>
                      <a:pt x="3546" y="108630"/>
                    </a:lnTo>
                    <a:lnTo>
                      <a:pt x="5480" y="107663"/>
                    </a:lnTo>
                    <a:lnTo>
                      <a:pt x="7092" y="106052"/>
                    </a:lnTo>
                    <a:lnTo>
                      <a:pt x="8381" y="104440"/>
                    </a:lnTo>
                    <a:lnTo>
                      <a:pt x="10637" y="102345"/>
                    </a:lnTo>
                    <a:lnTo>
                      <a:pt x="12894" y="100088"/>
                    </a:lnTo>
                    <a:lnTo>
                      <a:pt x="17084" y="95253"/>
                    </a:lnTo>
                    <a:lnTo>
                      <a:pt x="20630" y="90096"/>
                    </a:lnTo>
                    <a:lnTo>
                      <a:pt x="23853" y="84938"/>
                    </a:lnTo>
                    <a:lnTo>
                      <a:pt x="27077" y="79458"/>
                    </a:lnTo>
                    <a:lnTo>
                      <a:pt x="28366" y="76235"/>
                    </a:lnTo>
                    <a:lnTo>
                      <a:pt x="30300" y="70755"/>
                    </a:lnTo>
                    <a:lnTo>
                      <a:pt x="35458" y="55927"/>
                    </a:lnTo>
                    <a:lnTo>
                      <a:pt x="39969" y="42395"/>
                    </a:lnTo>
                    <a:lnTo>
                      <a:pt x="39970" y="42388"/>
                    </a:lnTo>
                    <a:lnTo>
                      <a:pt x="41581" y="35942"/>
                    </a:lnTo>
                    <a:lnTo>
                      <a:pt x="44160" y="29978"/>
                    </a:lnTo>
                    <a:lnTo>
                      <a:pt x="47384" y="24498"/>
                    </a:lnTo>
                    <a:lnTo>
                      <a:pt x="49318" y="21597"/>
                    </a:lnTo>
                    <a:lnTo>
                      <a:pt x="51252" y="19018"/>
                    </a:lnTo>
                    <a:lnTo>
                      <a:pt x="53186" y="16440"/>
                    </a:lnTo>
                    <a:lnTo>
                      <a:pt x="55442" y="14183"/>
                    </a:lnTo>
                    <a:lnTo>
                      <a:pt x="58021" y="11927"/>
                    </a:lnTo>
                    <a:lnTo>
                      <a:pt x="60600" y="9993"/>
                    </a:lnTo>
                    <a:lnTo>
                      <a:pt x="63017" y="8059"/>
                    </a:lnTo>
                    <a:lnTo>
                      <a:pt x="65918" y="6447"/>
                    </a:lnTo>
                    <a:lnTo>
                      <a:pt x="69142" y="5158"/>
                    </a:lnTo>
                    <a:lnTo>
                      <a:pt x="72043" y="3868"/>
                    </a:lnTo>
                    <a:lnTo>
                      <a:pt x="75266" y="2579"/>
                    </a:lnTo>
                    <a:lnTo>
                      <a:pt x="78812" y="1934"/>
                    </a:lnTo>
                    <a:lnTo>
                      <a:pt x="82035" y="967"/>
                    </a:lnTo>
                    <a:lnTo>
                      <a:pt x="85581" y="32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559" name="Group 558"/>
            <p:cNvGrpSpPr/>
            <p:nvPr/>
          </p:nvGrpSpPr>
          <p:grpSpPr>
            <a:xfrm rot="9000000" flipH="1">
              <a:off x="10525756" y="2618046"/>
              <a:ext cx="89612" cy="132564"/>
              <a:chOff x="2687372" y="3149601"/>
              <a:chExt cx="81465" cy="132564"/>
            </a:xfrm>
            <a:solidFill>
              <a:schemeClr val="accent1"/>
            </a:solidFill>
          </p:grpSpPr>
          <p:sp>
            <p:nvSpPr>
              <p:cNvPr id="56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grpSp>
        <p:nvGrpSpPr>
          <p:cNvPr id="14" name="Group 13"/>
          <p:cNvGrpSpPr/>
          <p:nvPr/>
        </p:nvGrpSpPr>
        <p:grpSpPr>
          <a:xfrm>
            <a:off x="10104087" y="4213026"/>
            <a:ext cx="484351" cy="601909"/>
            <a:chOff x="10126585" y="4213025"/>
            <a:chExt cx="484351" cy="601909"/>
          </a:xfrm>
        </p:grpSpPr>
        <p:grpSp>
          <p:nvGrpSpPr>
            <p:cNvPr id="5" name="Group 4"/>
            <p:cNvGrpSpPr>
              <a:grpSpLocks noChangeAspect="1"/>
            </p:cNvGrpSpPr>
            <p:nvPr/>
          </p:nvGrpSpPr>
          <p:grpSpPr>
            <a:xfrm>
              <a:off x="10126585" y="4284481"/>
              <a:ext cx="484351" cy="530453"/>
              <a:chOff x="223280" y="2346312"/>
              <a:chExt cx="448473" cy="530453"/>
            </a:xfrm>
          </p:grpSpPr>
          <p:sp>
            <p:nvSpPr>
              <p:cNvPr id="701" name="Freeform 11"/>
              <p:cNvSpPr>
                <a:spLocks/>
              </p:cNvSpPr>
              <p:nvPr/>
            </p:nvSpPr>
            <p:spPr bwMode="auto">
              <a:xfrm>
                <a:off x="223280" y="2437815"/>
                <a:ext cx="314654" cy="438950"/>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2" name="Freeform 12"/>
              <p:cNvSpPr>
                <a:spLocks/>
              </p:cNvSpPr>
              <p:nvPr/>
            </p:nvSpPr>
            <p:spPr bwMode="auto">
              <a:xfrm>
                <a:off x="370360" y="2346312"/>
                <a:ext cx="96446" cy="107417"/>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3" name="Freeform 13"/>
              <p:cNvSpPr>
                <a:spLocks/>
              </p:cNvSpPr>
              <p:nvPr/>
            </p:nvSpPr>
            <p:spPr bwMode="auto">
              <a:xfrm>
                <a:off x="481273" y="2616843"/>
                <a:ext cx="85596" cy="25197"/>
              </a:xfrm>
              <a:custGeom>
                <a:avLst/>
                <a:gdLst>
                  <a:gd name="T0" fmla="*/ 124 w 142"/>
                  <a:gd name="T1" fmla="*/ 0 h 38"/>
                  <a:gd name="T2" fmla="*/ 18 w 142"/>
                  <a:gd name="T3" fmla="*/ 0 h 38"/>
                  <a:gd name="T4" fmla="*/ 18 w 142"/>
                  <a:gd name="T5" fmla="*/ 0 h 38"/>
                  <a:gd name="T6" fmla="*/ 10 w 142"/>
                  <a:gd name="T7" fmla="*/ 2 h 38"/>
                  <a:gd name="T8" fmla="*/ 4 w 142"/>
                  <a:gd name="T9" fmla="*/ 6 h 38"/>
                  <a:gd name="T10" fmla="*/ 0 w 142"/>
                  <a:gd name="T11" fmla="*/ 12 h 38"/>
                  <a:gd name="T12" fmla="*/ 0 w 142"/>
                  <a:gd name="T13" fmla="*/ 20 h 38"/>
                  <a:gd name="T14" fmla="*/ 0 w 142"/>
                  <a:gd name="T15" fmla="*/ 20 h 38"/>
                  <a:gd name="T16" fmla="*/ 0 w 142"/>
                  <a:gd name="T17" fmla="*/ 26 h 38"/>
                  <a:gd name="T18" fmla="*/ 4 w 142"/>
                  <a:gd name="T19" fmla="*/ 32 h 38"/>
                  <a:gd name="T20" fmla="*/ 10 w 142"/>
                  <a:gd name="T21" fmla="*/ 36 h 38"/>
                  <a:gd name="T22" fmla="*/ 18 w 142"/>
                  <a:gd name="T23" fmla="*/ 38 h 38"/>
                  <a:gd name="T24" fmla="*/ 124 w 142"/>
                  <a:gd name="T25" fmla="*/ 38 h 38"/>
                  <a:gd name="T26" fmla="*/ 124 w 142"/>
                  <a:gd name="T27" fmla="*/ 38 h 38"/>
                  <a:gd name="T28" fmla="*/ 132 w 142"/>
                  <a:gd name="T29" fmla="*/ 36 h 38"/>
                  <a:gd name="T30" fmla="*/ 138 w 142"/>
                  <a:gd name="T31" fmla="*/ 32 h 38"/>
                  <a:gd name="T32" fmla="*/ 142 w 142"/>
                  <a:gd name="T33" fmla="*/ 26 h 38"/>
                  <a:gd name="T34" fmla="*/ 142 w 142"/>
                  <a:gd name="T35" fmla="*/ 20 h 38"/>
                  <a:gd name="T36" fmla="*/ 142 w 142"/>
                  <a:gd name="T37" fmla="*/ 20 h 38"/>
                  <a:gd name="T38" fmla="*/ 142 w 142"/>
                  <a:gd name="T39" fmla="*/ 12 h 38"/>
                  <a:gd name="T40" fmla="*/ 138 w 142"/>
                  <a:gd name="T41" fmla="*/ 6 h 38"/>
                  <a:gd name="T42" fmla="*/ 132 w 142"/>
                  <a:gd name="T43" fmla="*/ 2 h 38"/>
                  <a:gd name="T44" fmla="*/ 124 w 142"/>
                  <a:gd name="T45" fmla="*/ 0 h 38"/>
                  <a:gd name="T46" fmla="*/ 124 w 142"/>
                  <a:gd name="T4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38">
                    <a:moveTo>
                      <a:pt x="124" y="0"/>
                    </a:moveTo>
                    <a:lnTo>
                      <a:pt x="18" y="0"/>
                    </a:lnTo>
                    <a:lnTo>
                      <a:pt x="18" y="0"/>
                    </a:lnTo>
                    <a:lnTo>
                      <a:pt x="10" y="2"/>
                    </a:lnTo>
                    <a:lnTo>
                      <a:pt x="4" y="6"/>
                    </a:lnTo>
                    <a:lnTo>
                      <a:pt x="0" y="12"/>
                    </a:lnTo>
                    <a:lnTo>
                      <a:pt x="0" y="20"/>
                    </a:lnTo>
                    <a:lnTo>
                      <a:pt x="0" y="20"/>
                    </a:lnTo>
                    <a:lnTo>
                      <a:pt x="0" y="26"/>
                    </a:lnTo>
                    <a:lnTo>
                      <a:pt x="4" y="32"/>
                    </a:lnTo>
                    <a:lnTo>
                      <a:pt x="10" y="36"/>
                    </a:lnTo>
                    <a:lnTo>
                      <a:pt x="18" y="38"/>
                    </a:lnTo>
                    <a:lnTo>
                      <a:pt x="124" y="38"/>
                    </a:lnTo>
                    <a:lnTo>
                      <a:pt x="124" y="38"/>
                    </a:lnTo>
                    <a:lnTo>
                      <a:pt x="132" y="36"/>
                    </a:lnTo>
                    <a:lnTo>
                      <a:pt x="138" y="32"/>
                    </a:lnTo>
                    <a:lnTo>
                      <a:pt x="142" y="26"/>
                    </a:lnTo>
                    <a:lnTo>
                      <a:pt x="142" y="20"/>
                    </a:lnTo>
                    <a:lnTo>
                      <a:pt x="142" y="20"/>
                    </a:lnTo>
                    <a:lnTo>
                      <a:pt x="142" y="12"/>
                    </a:lnTo>
                    <a:lnTo>
                      <a:pt x="138" y="6"/>
                    </a:lnTo>
                    <a:lnTo>
                      <a:pt x="132" y="2"/>
                    </a:lnTo>
                    <a:lnTo>
                      <a:pt x="124" y="0"/>
                    </a:lnTo>
                    <a:lnTo>
                      <a:pt x="124"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4" name="Freeform 14"/>
              <p:cNvSpPr>
                <a:spLocks/>
              </p:cNvSpPr>
              <p:nvPr/>
            </p:nvSpPr>
            <p:spPr bwMode="auto">
              <a:xfrm>
                <a:off x="568074" y="2392727"/>
                <a:ext cx="103679" cy="249313"/>
              </a:xfrm>
              <a:custGeom>
                <a:avLst/>
                <a:gdLst>
                  <a:gd name="T0" fmla="*/ 96 w 172"/>
                  <a:gd name="T1" fmla="*/ 224 h 376"/>
                  <a:gd name="T2" fmla="*/ 96 w 172"/>
                  <a:gd name="T3" fmla="*/ 224 h 376"/>
                  <a:gd name="T4" fmla="*/ 94 w 172"/>
                  <a:gd name="T5" fmla="*/ 220 h 376"/>
                  <a:gd name="T6" fmla="*/ 88 w 172"/>
                  <a:gd name="T7" fmla="*/ 218 h 376"/>
                  <a:gd name="T8" fmla="*/ 172 w 172"/>
                  <a:gd name="T9" fmla="*/ 22 h 376"/>
                  <a:gd name="T10" fmla="*/ 122 w 172"/>
                  <a:gd name="T11" fmla="*/ 0 h 376"/>
                  <a:gd name="T12" fmla="*/ 0 w 172"/>
                  <a:gd name="T13" fmla="*/ 282 h 376"/>
                  <a:gd name="T14" fmla="*/ 52 w 172"/>
                  <a:gd name="T15" fmla="*/ 304 h 376"/>
                  <a:gd name="T16" fmla="*/ 72 w 172"/>
                  <a:gd name="T17" fmla="*/ 258 h 376"/>
                  <a:gd name="T18" fmla="*/ 110 w 172"/>
                  <a:gd name="T19" fmla="*/ 338 h 376"/>
                  <a:gd name="T20" fmla="*/ 54 w 172"/>
                  <a:gd name="T21" fmla="*/ 338 h 376"/>
                  <a:gd name="T22" fmla="*/ 54 w 172"/>
                  <a:gd name="T23" fmla="*/ 338 h 376"/>
                  <a:gd name="T24" fmla="*/ 46 w 172"/>
                  <a:gd name="T25" fmla="*/ 340 h 376"/>
                  <a:gd name="T26" fmla="*/ 40 w 172"/>
                  <a:gd name="T27" fmla="*/ 344 h 376"/>
                  <a:gd name="T28" fmla="*/ 38 w 172"/>
                  <a:gd name="T29" fmla="*/ 350 h 376"/>
                  <a:gd name="T30" fmla="*/ 36 w 172"/>
                  <a:gd name="T31" fmla="*/ 358 h 376"/>
                  <a:gd name="T32" fmla="*/ 36 w 172"/>
                  <a:gd name="T33" fmla="*/ 358 h 376"/>
                  <a:gd name="T34" fmla="*/ 38 w 172"/>
                  <a:gd name="T35" fmla="*/ 364 h 376"/>
                  <a:gd name="T36" fmla="*/ 40 w 172"/>
                  <a:gd name="T37" fmla="*/ 370 h 376"/>
                  <a:gd name="T38" fmla="*/ 46 w 172"/>
                  <a:gd name="T39" fmla="*/ 374 h 376"/>
                  <a:gd name="T40" fmla="*/ 54 w 172"/>
                  <a:gd name="T41" fmla="*/ 376 h 376"/>
                  <a:gd name="T42" fmla="*/ 140 w 172"/>
                  <a:gd name="T43" fmla="*/ 376 h 376"/>
                  <a:gd name="T44" fmla="*/ 140 w 172"/>
                  <a:gd name="T45" fmla="*/ 376 h 376"/>
                  <a:gd name="T46" fmla="*/ 148 w 172"/>
                  <a:gd name="T47" fmla="*/ 374 h 376"/>
                  <a:gd name="T48" fmla="*/ 156 w 172"/>
                  <a:gd name="T49" fmla="*/ 368 h 376"/>
                  <a:gd name="T50" fmla="*/ 156 w 172"/>
                  <a:gd name="T51" fmla="*/ 368 h 376"/>
                  <a:gd name="T52" fmla="*/ 158 w 172"/>
                  <a:gd name="T53" fmla="*/ 358 h 376"/>
                  <a:gd name="T54" fmla="*/ 156 w 172"/>
                  <a:gd name="T55" fmla="*/ 350 h 376"/>
                  <a:gd name="T56" fmla="*/ 96 w 172"/>
                  <a:gd name="T57" fmla="*/ 2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376">
                    <a:moveTo>
                      <a:pt x="96" y="224"/>
                    </a:moveTo>
                    <a:lnTo>
                      <a:pt x="96" y="224"/>
                    </a:lnTo>
                    <a:lnTo>
                      <a:pt x="94" y="220"/>
                    </a:lnTo>
                    <a:lnTo>
                      <a:pt x="88" y="218"/>
                    </a:lnTo>
                    <a:lnTo>
                      <a:pt x="172" y="22"/>
                    </a:lnTo>
                    <a:lnTo>
                      <a:pt x="122" y="0"/>
                    </a:lnTo>
                    <a:lnTo>
                      <a:pt x="0" y="282"/>
                    </a:lnTo>
                    <a:lnTo>
                      <a:pt x="52" y="304"/>
                    </a:lnTo>
                    <a:lnTo>
                      <a:pt x="72" y="258"/>
                    </a:lnTo>
                    <a:lnTo>
                      <a:pt x="110" y="338"/>
                    </a:lnTo>
                    <a:lnTo>
                      <a:pt x="54" y="338"/>
                    </a:lnTo>
                    <a:lnTo>
                      <a:pt x="54" y="338"/>
                    </a:lnTo>
                    <a:lnTo>
                      <a:pt x="46" y="340"/>
                    </a:lnTo>
                    <a:lnTo>
                      <a:pt x="40" y="344"/>
                    </a:lnTo>
                    <a:lnTo>
                      <a:pt x="38" y="350"/>
                    </a:lnTo>
                    <a:lnTo>
                      <a:pt x="36" y="358"/>
                    </a:lnTo>
                    <a:lnTo>
                      <a:pt x="36" y="358"/>
                    </a:lnTo>
                    <a:lnTo>
                      <a:pt x="38" y="364"/>
                    </a:lnTo>
                    <a:lnTo>
                      <a:pt x="40" y="370"/>
                    </a:lnTo>
                    <a:lnTo>
                      <a:pt x="46" y="374"/>
                    </a:lnTo>
                    <a:lnTo>
                      <a:pt x="54" y="376"/>
                    </a:lnTo>
                    <a:lnTo>
                      <a:pt x="140" y="376"/>
                    </a:lnTo>
                    <a:lnTo>
                      <a:pt x="140" y="376"/>
                    </a:lnTo>
                    <a:lnTo>
                      <a:pt x="148" y="374"/>
                    </a:lnTo>
                    <a:lnTo>
                      <a:pt x="156" y="368"/>
                    </a:lnTo>
                    <a:lnTo>
                      <a:pt x="156" y="368"/>
                    </a:lnTo>
                    <a:lnTo>
                      <a:pt x="158" y="358"/>
                    </a:lnTo>
                    <a:lnTo>
                      <a:pt x="156" y="350"/>
                    </a:lnTo>
                    <a:lnTo>
                      <a:pt x="96" y="22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5" name="Rectangle 704"/>
              <p:cNvSpPr/>
              <p:nvPr/>
            </p:nvSpPr>
            <p:spPr bwMode="auto">
              <a:xfrm>
                <a:off x="446928" y="2662225"/>
                <a:ext cx="221285" cy="1707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nvGrpSpPr>
            <p:cNvPr id="566" name="Group 565"/>
            <p:cNvGrpSpPr/>
            <p:nvPr/>
          </p:nvGrpSpPr>
          <p:grpSpPr>
            <a:xfrm rot="13971796">
              <a:off x="10451149" y="4189402"/>
              <a:ext cx="98573" cy="145820"/>
              <a:chOff x="2687372" y="3149601"/>
              <a:chExt cx="81465" cy="132564"/>
            </a:xfrm>
            <a:solidFill>
              <a:schemeClr val="accent1"/>
            </a:solidFill>
          </p:grpSpPr>
          <p:sp>
            <p:nvSpPr>
              <p:cNvPr id="567"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8"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6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0"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1"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grpSp>
        <p:nvGrpSpPr>
          <p:cNvPr id="15" name="Group 14"/>
          <p:cNvGrpSpPr/>
          <p:nvPr/>
        </p:nvGrpSpPr>
        <p:grpSpPr>
          <a:xfrm>
            <a:off x="10093918" y="5589819"/>
            <a:ext cx="452098" cy="692072"/>
            <a:chOff x="10091765" y="5589819"/>
            <a:chExt cx="452098" cy="692072"/>
          </a:xfrm>
        </p:grpSpPr>
        <p:grpSp>
          <p:nvGrpSpPr>
            <p:cNvPr id="773" name="Group 772"/>
            <p:cNvGrpSpPr/>
            <p:nvPr/>
          </p:nvGrpSpPr>
          <p:grpSpPr>
            <a:xfrm>
              <a:off x="10167849" y="5589819"/>
              <a:ext cx="376014" cy="692072"/>
              <a:chOff x="226212" y="3840074"/>
              <a:chExt cx="376014" cy="692072"/>
            </a:xfrm>
            <a:solidFill>
              <a:schemeClr val="bg1"/>
            </a:solidFill>
          </p:grpSpPr>
          <p:sp>
            <p:nvSpPr>
              <p:cNvPr id="774" name="Freeform 39"/>
              <p:cNvSpPr>
                <a:spLocks/>
              </p:cNvSpPr>
              <p:nvPr/>
            </p:nvSpPr>
            <p:spPr bwMode="auto">
              <a:xfrm>
                <a:off x="401567" y="3840074"/>
                <a:ext cx="140058" cy="80264"/>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5" name="Freeform 40"/>
              <p:cNvSpPr>
                <a:spLocks/>
              </p:cNvSpPr>
              <p:nvPr/>
            </p:nvSpPr>
            <p:spPr bwMode="auto">
              <a:xfrm>
                <a:off x="427838" y="3931136"/>
                <a:ext cx="102989" cy="63018"/>
              </a:xfrm>
              <a:custGeom>
                <a:avLst/>
                <a:gdLst>
                  <a:gd name="T0" fmla="*/ 8 w 639"/>
                  <a:gd name="T1" fmla="*/ 0 h 391"/>
                  <a:gd name="T2" fmla="*/ 8 w 639"/>
                  <a:gd name="T3" fmla="*/ 0 h 391"/>
                  <a:gd name="T4" fmla="*/ 4 w 639"/>
                  <a:gd name="T5" fmla="*/ 23 h 391"/>
                  <a:gd name="T6" fmla="*/ 0 w 639"/>
                  <a:gd name="T7" fmla="*/ 44 h 391"/>
                  <a:gd name="T8" fmla="*/ 0 w 639"/>
                  <a:gd name="T9" fmla="*/ 66 h 391"/>
                  <a:gd name="T10" fmla="*/ 0 w 639"/>
                  <a:gd name="T11" fmla="*/ 89 h 391"/>
                  <a:gd name="T12" fmla="*/ 0 w 639"/>
                  <a:gd name="T13" fmla="*/ 109 h 391"/>
                  <a:gd name="T14" fmla="*/ 4 w 639"/>
                  <a:gd name="T15" fmla="*/ 132 h 391"/>
                  <a:gd name="T16" fmla="*/ 8 w 639"/>
                  <a:gd name="T17" fmla="*/ 152 h 391"/>
                  <a:gd name="T18" fmla="*/ 13 w 639"/>
                  <a:gd name="T19" fmla="*/ 173 h 391"/>
                  <a:gd name="T20" fmla="*/ 19 w 639"/>
                  <a:gd name="T21" fmla="*/ 194 h 391"/>
                  <a:gd name="T22" fmla="*/ 27 w 639"/>
                  <a:gd name="T23" fmla="*/ 214 h 391"/>
                  <a:gd name="T24" fmla="*/ 38 w 639"/>
                  <a:gd name="T25" fmla="*/ 233 h 391"/>
                  <a:gd name="T26" fmla="*/ 47 w 639"/>
                  <a:gd name="T27" fmla="*/ 252 h 391"/>
                  <a:gd name="T28" fmla="*/ 60 w 639"/>
                  <a:gd name="T29" fmla="*/ 271 h 391"/>
                  <a:gd name="T30" fmla="*/ 73 w 639"/>
                  <a:gd name="T31" fmla="*/ 288 h 391"/>
                  <a:gd name="T32" fmla="*/ 90 w 639"/>
                  <a:gd name="T33" fmla="*/ 303 h 391"/>
                  <a:gd name="T34" fmla="*/ 107 w 639"/>
                  <a:gd name="T35" fmla="*/ 318 h 391"/>
                  <a:gd name="T36" fmla="*/ 107 w 639"/>
                  <a:gd name="T37" fmla="*/ 318 h 391"/>
                  <a:gd name="T38" fmla="*/ 122 w 639"/>
                  <a:gd name="T39" fmla="*/ 333 h 391"/>
                  <a:gd name="T40" fmla="*/ 141 w 639"/>
                  <a:gd name="T41" fmla="*/ 344 h 391"/>
                  <a:gd name="T42" fmla="*/ 160 w 639"/>
                  <a:gd name="T43" fmla="*/ 355 h 391"/>
                  <a:gd name="T44" fmla="*/ 179 w 639"/>
                  <a:gd name="T45" fmla="*/ 365 h 391"/>
                  <a:gd name="T46" fmla="*/ 197 w 639"/>
                  <a:gd name="T47" fmla="*/ 372 h 391"/>
                  <a:gd name="T48" fmla="*/ 216 w 639"/>
                  <a:gd name="T49" fmla="*/ 380 h 391"/>
                  <a:gd name="T50" fmla="*/ 237 w 639"/>
                  <a:gd name="T51" fmla="*/ 384 h 391"/>
                  <a:gd name="T52" fmla="*/ 258 w 639"/>
                  <a:gd name="T53" fmla="*/ 387 h 391"/>
                  <a:gd name="T54" fmla="*/ 278 w 639"/>
                  <a:gd name="T55" fmla="*/ 391 h 391"/>
                  <a:gd name="T56" fmla="*/ 299 w 639"/>
                  <a:gd name="T57" fmla="*/ 391 h 391"/>
                  <a:gd name="T58" fmla="*/ 321 w 639"/>
                  <a:gd name="T59" fmla="*/ 391 h 391"/>
                  <a:gd name="T60" fmla="*/ 342 w 639"/>
                  <a:gd name="T61" fmla="*/ 389 h 391"/>
                  <a:gd name="T62" fmla="*/ 363 w 639"/>
                  <a:gd name="T63" fmla="*/ 387 h 391"/>
                  <a:gd name="T64" fmla="*/ 383 w 639"/>
                  <a:gd name="T65" fmla="*/ 384 h 391"/>
                  <a:gd name="T66" fmla="*/ 404 w 639"/>
                  <a:gd name="T67" fmla="*/ 378 h 391"/>
                  <a:gd name="T68" fmla="*/ 423 w 639"/>
                  <a:gd name="T69" fmla="*/ 370 h 391"/>
                  <a:gd name="T70" fmla="*/ 443 w 639"/>
                  <a:gd name="T71" fmla="*/ 363 h 391"/>
                  <a:gd name="T72" fmla="*/ 462 w 639"/>
                  <a:gd name="T73" fmla="*/ 355 h 391"/>
                  <a:gd name="T74" fmla="*/ 481 w 639"/>
                  <a:gd name="T75" fmla="*/ 344 h 391"/>
                  <a:gd name="T76" fmla="*/ 498 w 639"/>
                  <a:gd name="T77" fmla="*/ 335 h 391"/>
                  <a:gd name="T78" fmla="*/ 515 w 639"/>
                  <a:gd name="T79" fmla="*/ 322 h 391"/>
                  <a:gd name="T80" fmla="*/ 532 w 639"/>
                  <a:gd name="T81" fmla="*/ 308 h 391"/>
                  <a:gd name="T82" fmla="*/ 547 w 639"/>
                  <a:gd name="T83" fmla="*/ 295 h 391"/>
                  <a:gd name="T84" fmla="*/ 562 w 639"/>
                  <a:gd name="T85" fmla="*/ 280 h 391"/>
                  <a:gd name="T86" fmla="*/ 575 w 639"/>
                  <a:gd name="T87" fmla="*/ 263 h 391"/>
                  <a:gd name="T88" fmla="*/ 586 w 639"/>
                  <a:gd name="T89" fmla="*/ 248 h 391"/>
                  <a:gd name="T90" fmla="*/ 597 w 639"/>
                  <a:gd name="T91" fmla="*/ 230 h 391"/>
                  <a:gd name="T92" fmla="*/ 607 w 639"/>
                  <a:gd name="T93" fmla="*/ 211 h 391"/>
                  <a:gd name="T94" fmla="*/ 616 w 639"/>
                  <a:gd name="T95" fmla="*/ 192 h 391"/>
                  <a:gd name="T96" fmla="*/ 622 w 639"/>
                  <a:gd name="T97" fmla="*/ 171 h 391"/>
                  <a:gd name="T98" fmla="*/ 628 w 639"/>
                  <a:gd name="T99" fmla="*/ 151 h 391"/>
                  <a:gd name="T100" fmla="*/ 631 w 639"/>
                  <a:gd name="T101" fmla="*/ 128 h 391"/>
                  <a:gd name="T102" fmla="*/ 631 w 639"/>
                  <a:gd name="T103" fmla="*/ 128 h 391"/>
                  <a:gd name="T104" fmla="*/ 637 w 639"/>
                  <a:gd name="T105" fmla="*/ 96 h 391"/>
                  <a:gd name="T106" fmla="*/ 639 w 639"/>
                  <a:gd name="T107" fmla="*/ 64 h 391"/>
                  <a:gd name="T108" fmla="*/ 635 w 639"/>
                  <a:gd name="T109" fmla="*/ 32 h 391"/>
                  <a:gd name="T110" fmla="*/ 629 w 639"/>
                  <a:gd name="T111" fmla="*/ 0 h 391"/>
                  <a:gd name="T112" fmla="*/ 8 w 639"/>
                  <a:gd name="T11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9" h="391">
                    <a:moveTo>
                      <a:pt x="8" y="0"/>
                    </a:moveTo>
                    <a:lnTo>
                      <a:pt x="8" y="0"/>
                    </a:lnTo>
                    <a:lnTo>
                      <a:pt x="4" y="23"/>
                    </a:lnTo>
                    <a:lnTo>
                      <a:pt x="0" y="44"/>
                    </a:lnTo>
                    <a:lnTo>
                      <a:pt x="0" y="66"/>
                    </a:lnTo>
                    <a:lnTo>
                      <a:pt x="0" y="89"/>
                    </a:lnTo>
                    <a:lnTo>
                      <a:pt x="0" y="109"/>
                    </a:lnTo>
                    <a:lnTo>
                      <a:pt x="4" y="132"/>
                    </a:lnTo>
                    <a:lnTo>
                      <a:pt x="8" y="152"/>
                    </a:lnTo>
                    <a:lnTo>
                      <a:pt x="13" y="173"/>
                    </a:lnTo>
                    <a:lnTo>
                      <a:pt x="19" y="194"/>
                    </a:lnTo>
                    <a:lnTo>
                      <a:pt x="27" y="214"/>
                    </a:lnTo>
                    <a:lnTo>
                      <a:pt x="38" y="233"/>
                    </a:lnTo>
                    <a:lnTo>
                      <a:pt x="47" y="252"/>
                    </a:lnTo>
                    <a:lnTo>
                      <a:pt x="60" y="271"/>
                    </a:lnTo>
                    <a:lnTo>
                      <a:pt x="73" y="288"/>
                    </a:lnTo>
                    <a:lnTo>
                      <a:pt x="90" y="303"/>
                    </a:lnTo>
                    <a:lnTo>
                      <a:pt x="107" y="318"/>
                    </a:lnTo>
                    <a:lnTo>
                      <a:pt x="107" y="318"/>
                    </a:lnTo>
                    <a:lnTo>
                      <a:pt x="122" y="333"/>
                    </a:lnTo>
                    <a:lnTo>
                      <a:pt x="141" y="344"/>
                    </a:lnTo>
                    <a:lnTo>
                      <a:pt x="160" y="355"/>
                    </a:lnTo>
                    <a:lnTo>
                      <a:pt x="179" y="365"/>
                    </a:lnTo>
                    <a:lnTo>
                      <a:pt x="197" y="372"/>
                    </a:lnTo>
                    <a:lnTo>
                      <a:pt x="216" y="380"/>
                    </a:lnTo>
                    <a:lnTo>
                      <a:pt x="237" y="384"/>
                    </a:lnTo>
                    <a:lnTo>
                      <a:pt x="258" y="387"/>
                    </a:lnTo>
                    <a:lnTo>
                      <a:pt x="278" y="391"/>
                    </a:lnTo>
                    <a:lnTo>
                      <a:pt x="299" y="391"/>
                    </a:lnTo>
                    <a:lnTo>
                      <a:pt x="321" y="391"/>
                    </a:lnTo>
                    <a:lnTo>
                      <a:pt x="342" y="389"/>
                    </a:lnTo>
                    <a:lnTo>
                      <a:pt x="363" y="387"/>
                    </a:lnTo>
                    <a:lnTo>
                      <a:pt x="383" y="384"/>
                    </a:lnTo>
                    <a:lnTo>
                      <a:pt x="404" y="378"/>
                    </a:lnTo>
                    <a:lnTo>
                      <a:pt x="423" y="370"/>
                    </a:lnTo>
                    <a:lnTo>
                      <a:pt x="443" y="363"/>
                    </a:lnTo>
                    <a:lnTo>
                      <a:pt x="462" y="355"/>
                    </a:lnTo>
                    <a:lnTo>
                      <a:pt x="481" y="344"/>
                    </a:lnTo>
                    <a:lnTo>
                      <a:pt x="498" y="335"/>
                    </a:lnTo>
                    <a:lnTo>
                      <a:pt x="515" y="322"/>
                    </a:lnTo>
                    <a:lnTo>
                      <a:pt x="532" y="308"/>
                    </a:lnTo>
                    <a:lnTo>
                      <a:pt x="547" y="295"/>
                    </a:lnTo>
                    <a:lnTo>
                      <a:pt x="562" y="280"/>
                    </a:lnTo>
                    <a:lnTo>
                      <a:pt x="575" y="263"/>
                    </a:lnTo>
                    <a:lnTo>
                      <a:pt x="586" y="248"/>
                    </a:lnTo>
                    <a:lnTo>
                      <a:pt x="597" y="230"/>
                    </a:lnTo>
                    <a:lnTo>
                      <a:pt x="607" y="211"/>
                    </a:lnTo>
                    <a:lnTo>
                      <a:pt x="616" y="192"/>
                    </a:lnTo>
                    <a:lnTo>
                      <a:pt x="622" y="171"/>
                    </a:lnTo>
                    <a:lnTo>
                      <a:pt x="628" y="151"/>
                    </a:lnTo>
                    <a:lnTo>
                      <a:pt x="631" y="128"/>
                    </a:lnTo>
                    <a:lnTo>
                      <a:pt x="631" y="128"/>
                    </a:lnTo>
                    <a:lnTo>
                      <a:pt x="637" y="96"/>
                    </a:lnTo>
                    <a:lnTo>
                      <a:pt x="639" y="64"/>
                    </a:lnTo>
                    <a:lnTo>
                      <a:pt x="635" y="32"/>
                    </a:lnTo>
                    <a:lnTo>
                      <a:pt x="629" y="0"/>
                    </a:lnTo>
                    <a:lnTo>
                      <a:pt x="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0" name="Freeform 41"/>
              <p:cNvSpPr>
                <a:spLocks/>
              </p:cNvSpPr>
              <p:nvPr/>
            </p:nvSpPr>
            <p:spPr bwMode="auto">
              <a:xfrm>
                <a:off x="226212" y="4011722"/>
                <a:ext cx="376014" cy="520424"/>
              </a:xfrm>
              <a:custGeom>
                <a:avLst/>
                <a:gdLst>
                  <a:gd name="T0" fmla="*/ 2329 w 2333"/>
                  <a:gd name="T1" fmla="*/ 391 h 3229"/>
                  <a:gd name="T2" fmla="*/ 2299 w 2333"/>
                  <a:gd name="T3" fmla="*/ 254 h 3229"/>
                  <a:gd name="T4" fmla="*/ 2239 w 2333"/>
                  <a:gd name="T5" fmla="*/ 131 h 3229"/>
                  <a:gd name="T6" fmla="*/ 2153 w 2333"/>
                  <a:gd name="T7" fmla="*/ 54 h 3229"/>
                  <a:gd name="T8" fmla="*/ 2087 w 2333"/>
                  <a:gd name="T9" fmla="*/ 30 h 3229"/>
                  <a:gd name="T10" fmla="*/ 1974 w 2333"/>
                  <a:gd name="T11" fmla="*/ 11 h 3229"/>
                  <a:gd name="T12" fmla="*/ 1685 w 2333"/>
                  <a:gd name="T13" fmla="*/ 0 h 3229"/>
                  <a:gd name="T14" fmla="*/ 1300 w 2333"/>
                  <a:gd name="T15" fmla="*/ 4 h 3229"/>
                  <a:gd name="T16" fmla="*/ 1193 w 2333"/>
                  <a:gd name="T17" fmla="*/ 36 h 3229"/>
                  <a:gd name="T18" fmla="*/ 1101 w 2333"/>
                  <a:gd name="T19" fmla="*/ 88 h 3229"/>
                  <a:gd name="T20" fmla="*/ 986 w 2333"/>
                  <a:gd name="T21" fmla="*/ 201 h 3229"/>
                  <a:gd name="T22" fmla="*/ 829 w 2333"/>
                  <a:gd name="T23" fmla="*/ 430 h 3229"/>
                  <a:gd name="T24" fmla="*/ 705 w 2333"/>
                  <a:gd name="T25" fmla="*/ 609 h 3229"/>
                  <a:gd name="T26" fmla="*/ 564 w 2333"/>
                  <a:gd name="T27" fmla="*/ 624 h 3229"/>
                  <a:gd name="T28" fmla="*/ 147 w 2333"/>
                  <a:gd name="T29" fmla="*/ 637 h 3229"/>
                  <a:gd name="T30" fmla="*/ 100 w 2333"/>
                  <a:gd name="T31" fmla="*/ 639 h 3229"/>
                  <a:gd name="T32" fmla="*/ 53 w 2333"/>
                  <a:gd name="T33" fmla="*/ 665 h 3229"/>
                  <a:gd name="T34" fmla="*/ 15 w 2333"/>
                  <a:gd name="T35" fmla="*/ 716 h 3229"/>
                  <a:gd name="T36" fmla="*/ 2 w 2333"/>
                  <a:gd name="T37" fmla="*/ 778 h 3229"/>
                  <a:gd name="T38" fmla="*/ 10 w 2333"/>
                  <a:gd name="T39" fmla="*/ 847 h 3229"/>
                  <a:gd name="T40" fmla="*/ 44 w 2333"/>
                  <a:gd name="T41" fmla="*/ 896 h 3229"/>
                  <a:gd name="T42" fmla="*/ 107 w 2333"/>
                  <a:gd name="T43" fmla="*/ 924 h 3229"/>
                  <a:gd name="T44" fmla="*/ 333 w 2333"/>
                  <a:gd name="T45" fmla="*/ 928 h 3229"/>
                  <a:gd name="T46" fmla="*/ 840 w 2333"/>
                  <a:gd name="T47" fmla="*/ 911 h 3229"/>
                  <a:gd name="T48" fmla="*/ 932 w 2333"/>
                  <a:gd name="T49" fmla="*/ 821 h 3229"/>
                  <a:gd name="T50" fmla="*/ 1039 w 2333"/>
                  <a:gd name="T51" fmla="*/ 659 h 3229"/>
                  <a:gd name="T52" fmla="*/ 1152 w 2333"/>
                  <a:gd name="T53" fmla="*/ 501 h 3229"/>
                  <a:gd name="T54" fmla="*/ 1152 w 2333"/>
                  <a:gd name="T55" fmla="*/ 3018 h 3229"/>
                  <a:gd name="T56" fmla="*/ 1152 w 2333"/>
                  <a:gd name="T57" fmla="*/ 3075 h 3229"/>
                  <a:gd name="T58" fmla="*/ 1172 w 2333"/>
                  <a:gd name="T59" fmla="*/ 3146 h 3229"/>
                  <a:gd name="T60" fmla="*/ 1216 w 2333"/>
                  <a:gd name="T61" fmla="*/ 3202 h 3229"/>
                  <a:gd name="T62" fmla="*/ 1283 w 2333"/>
                  <a:gd name="T63" fmla="*/ 3227 h 3229"/>
                  <a:gd name="T64" fmla="*/ 1343 w 2333"/>
                  <a:gd name="T65" fmla="*/ 3229 h 3229"/>
                  <a:gd name="T66" fmla="*/ 1415 w 2333"/>
                  <a:gd name="T67" fmla="*/ 3208 h 3229"/>
                  <a:gd name="T68" fmla="*/ 1471 w 2333"/>
                  <a:gd name="T69" fmla="*/ 3161 h 3229"/>
                  <a:gd name="T70" fmla="*/ 1503 w 2333"/>
                  <a:gd name="T71" fmla="*/ 3095 h 3229"/>
                  <a:gd name="T72" fmla="*/ 1507 w 2333"/>
                  <a:gd name="T73" fmla="*/ 2314 h 3229"/>
                  <a:gd name="T74" fmla="*/ 1604 w 2333"/>
                  <a:gd name="T75" fmla="*/ 1572 h 3229"/>
                  <a:gd name="T76" fmla="*/ 1606 w 2333"/>
                  <a:gd name="T77" fmla="*/ 2712 h 3229"/>
                  <a:gd name="T78" fmla="*/ 1610 w 2333"/>
                  <a:gd name="T79" fmla="*/ 3110 h 3229"/>
                  <a:gd name="T80" fmla="*/ 1631 w 2333"/>
                  <a:gd name="T81" fmla="*/ 3170 h 3229"/>
                  <a:gd name="T82" fmla="*/ 1678 w 2333"/>
                  <a:gd name="T83" fmla="*/ 3210 h 3229"/>
                  <a:gd name="T84" fmla="*/ 1741 w 2333"/>
                  <a:gd name="T85" fmla="*/ 3227 h 3229"/>
                  <a:gd name="T86" fmla="*/ 1790 w 2333"/>
                  <a:gd name="T87" fmla="*/ 3227 h 3229"/>
                  <a:gd name="T88" fmla="*/ 1862 w 2333"/>
                  <a:gd name="T89" fmla="*/ 3208 h 3229"/>
                  <a:gd name="T90" fmla="*/ 1916 w 2333"/>
                  <a:gd name="T91" fmla="*/ 3159 h 3229"/>
                  <a:gd name="T92" fmla="*/ 1948 w 2333"/>
                  <a:gd name="T93" fmla="*/ 3093 h 3229"/>
                  <a:gd name="T94" fmla="*/ 1961 w 2333"/>
                  <a:gd name="T95" fmla="*/ 3022 h 3229"/>
                  <a:gd name="T96" fmla="*/ 1961 w 2333"/>
                  <a:gd name="T97" fmla="*/ 524 h 3229"/>
                  <a:gd name="T98" fmla="*/ 2061 w 2333"/>
                  <a:gd name="T99" fmla="*/ 982 h 3229"/>
                  <a:gd name="T100" fmla="*/ 2063 w 2333"/>
                  <a:gd name="T101" fmla="*/ 1439 h 3229"/>
                  <a:gd name="T102" fmla="*/ 2083 w 2333"/>
                  <a:gd name="T103" fmla="*/ 1521 h 3229"/>
                  <a:gd name="T104" fmla="*/ 2113 w 2333"/>
                  <a:gd name="T105" fmla="*/ 1553 h 3229"/>
                  <a:gd name="T106" fmla="*/ 2158 w 2333"/>
                  <a:gd name="T107" fmla="*/ 1572 h 3229"/>
                  <a:gd name="T108" fmla="*/ 2207 w 2333"/>
                  <a:gd name="T109" fmla="*/ 1578 h 3229"/>
                  <a:gd name="T110" fmla="*/ 2267 w 2333"/>
                  <a:gd name="T111" fmla="*/ 1555 h 3229"/>
                  <a:gd name="T112" fmla="*/ 2309 w 2333"/>
                  <a:gd name="T113" fmla="*/ 1503 h 3229"/>
                  <a:gd name="T114" fmla="*/ 2329 w 2333"/>
                  <a:gd name="T115" fmla="*/ 1437 h 3229"/>
                  <a:gd name="T116" fmla="*/ 2333 w 2333"/>
                  <a:gd name="T117" fmla="*/ 932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3" h="3229">
                    <a:moveTo>
                      <a:pt x="2333" y="456"/>
                    </a:moveTo>
                    <a:lnTo>
                      <a:pt x="2333" y="456"/>
                    </a:lnTo>
                    <a:lnTo>
                      <a:pt x="2331" y="424"/>
                    </a:lnTo>
                    <a:lnTo>
                      <a:pt x="2329" y="391"/>
                    </a:lnTo>
                    <a:lnTo>
                      <a:pt x="2324" y="355"/>
                    </a:lnTo>
                    <a:lnTo>
                      <a:pt x="2318" y="321"/>
                    </a:lnTo>
                    <a:lnTo>
                      <a:pt x="2310" y="287"/>
                    </a:lnTo>
                    <a:lnTo>
                      <a:pt x="2299" y="254"/>
                    </a:lnTo>
                    <a:lnTo>
                      <a:pt x="2288" y="222"/>
                    </a:lnTo>
                    <a:lnTo>
                      <a:pt x="2275" y="190"/>
                    </a:lnTo>
                    <a:lnTo>
                      <a:pt x="2258" y="160"/>
                    </a:lnTo>
                    <a:lnTo>
                      <a:pt x="2239" y="131"/>
                    </a:lnTo>
                    <a:lnTo>
                      <a:pt x="2218" y="107"/>
                    </a:lnTo>
                    <a:lnTo>
                      <a:pt x="2194" y="84"/>
                    </a:lnTo>
                    <a:lnTo>
                      <a:pt x="2168" y="64"/>
                    </a:lnTo>
                    <a:lnTo>
                      <a:pt x="2153" y="54"/>
                    </a:lnTo>
                    <a:lnTo>
                      <a:pt x="2138" y="47"/>
                    </a:lnTo>
                    <a:lnTo>
                      <a:pt x="2121" y="39"/>
                    </a:lnTo>
                    <a:lnTo>
                      <a:pt x="2104" y="34"/>
                    </a:lnTo>
                    <a:lnTo>
                      <a:pt x="2087" y="30"/>
                    </a:lnTo>
                    <a:lnTo>
                      <a:pt x="2068" y="24"/>
                    </a:lnTo>
                    <a:lnTo>
                      <a:pt x="2068" y="24"/>
                    </a:lnTo>
                    <a:lnTo>
                      <a:pt x="2021" y="17"/>
                    </a:lnTo>
                    <a:lnTo>
                      <a:pt x="1974" y="11"/>
                    </a:lnTo>
                    <a:lnTo>
                      <a:pt x="1925" y="6"/>
                    </a:lnTo>
                    <a:lnTo>
                      <a:pt x="1879" y="4"/>
                    </a:lnTo>
                    <a:lnTo>
                      <a:pt x="1783" y="0"/>
                    </a:lnTo>
                    <a:lnTo>
                      <a:pt x="1685" y="0"/>
                    </a:lnTo>
                    <a:lnTo>
                      <a:pt x="1493" y="4"/>
                    </a:lnTo>
                    <a:lnTo>
                      <a:pt x="1396" y="6"/>
                    </a:lnTo>
                    <a:lnTo>
                      <a:pt x="1300" y="4"/>
                    </a:lnTo>
                    <a:lnTo>
                      <a:pt x="1300" y="4"/>
                    </a:lnTo>
                    <a:lnTo>
                      <a:pt x="1272" y="9"/>
                    </a:lnTo>
                    <a:lnTo>
                      <a:pt x="1244" y="17"/>
                    </a:lnTo>
                    <a:lnTo>
                      <a:pt x="1217" y="24"/>
                    </a:lnTo>
                    <a:lnTo>
                      <a:pt x="1193" y="36"/>
                    </a:lnTo>
                    <a:lnTo>
                      <a:pt x="1169" y="47"/>
                    </a:lnTo>
                    <a:lnTo>
                      <a:pt x="1144" y="60"/>
                    </a:lnTo>
                    <a:lnTo>
                      <a:pt x="1122" y="73"/>
                    </a:lnTo>
                    <a:lnTo>
                      <a:pt x="1101" y="88"/>
                    </a:lnTo>
                    <a:lnTo>
                      <a:pt x="1080" y="105"/>
                    </a:lnTo>
                    <a:lnTo>
                      <a:pt x="1060" y="122"/>
                    </a:lnTo>
                    <a:lnTo>
                      <a:pt x="1022" y="160"/>
                    </a:lnTo>
                    <a:lnTo>
                      <a:pt x="986" y="201"/>
                    </a:lnTo>
                    <a:lnTo>
                      <a:pt x="953" y="242"/>
                    </a:lnTo>
                    <a:lnTo>
                      <a:pt x="919" y="289"/>
                    </a:lnTo>
                    <a:lnTo>
                      <a:pt x="889" y="334"/>
                    </a:lnTo>
                    <a:lnTo>
                      <a:pt x="829" y="430"/>
                    </a:lnTo>
                    <a:lnTo>
                      <a:pt x="799" y="475"/>
                    </a:lnTo>
                    <a:lnTo>
                      <a:pt x="769" y="522"/>
                    </a:lnTo>
                    <a:lnTo>
                      <a:pt x="737" y="565"/>
                    </a:lnTo>
                    <a:lnTo>
                      <a:pt x="705" y="609"/>
                    </a:lnTo>
                    <a:lnTo>
                      <a:pt x="705" y="609"/>
                    </a:lnTo>
                    <a:lnTo>
                      <a:pt x="658" y="616"/>
                    </a:lnTo>
                    <a:lnTo>
                      <a:pt x="611" y="622"/>
                    </a:lnTo>
                    <a:lnTo>
                      <a:pt x="564" y="624"/>
                    </a:lnTo>
                    <a:lnTo>
                      <a:pt x="515" y="624"/>
                    </a:lnTo>
                    <a:lnTo>
                      <a:pt x="566" y="764"/>
                    </a:lnTo>
                    <a:lnTo>
                      <a:pt x="250" y="883"/>
                    </a:lnTo>
                    <a:lnTo>
                      <a:pt x="147" y="637"/>
                    </a:lnTo>
                    <a:lnTo>
                      <a:pt x="147" y="637"/>
                    </a:lnTo>
                    <a:lnTo>
                      <a:pt x="134" y="635"/>
                    </a:lnTo>
                    <a:lnTo>
                      <a:pt x="119" y="635"/>
                    </a:lnTo>
                    <a:lnTo>
                      <a:pt x="100" y="639"/>
                    </a:lnTo>
                    <a:lnTo>
                      <a:pt x="81" y="644"/>
                    </a:lnTo>
                    <a:lnTo>
                      <a:pt x="72" y="650"/>
                    </a:lnTo>
                    <a:lnTo>
                      <a:pt x="62" y="655"/>
                    </a:lnTo>
                    <a:lnTo>
                      <a:pt x="53" y="665"/>
                    </a:lnTo>
                    <a:lnTo>
                      <a:pt x="42" y="674"/>
                    </a:lnTo>
                    <a:lnTo>
                      <a:pt x="32" y="686"/>
                    </a:lnTo>
                    <a:lnTo>
                      <a:pt x="23" y="701"/>
                    </a:lnTo>
                    <a:lnTo>
                      <a:pt x="15" y="716"/>
                    </a:lnTo>
                    <a:lnTo>
                      <a:pt x="6" y="734"/>
                    </a:lnTo>
                    <a:lnTo>
                      <a:pt x="6" y="734"/>
                    </a:lnTo>
                    <a:lnTo>
                      <a:pt x="2" y="757"/>
                    </a:lnTo>
                    <a:lnTo>
                      <a:pt x="2" y="778"/>
                    </a:lnTo>
                    <a:lnTo>
                      <a:pt x="0" y="798"/>
                    </a:lnTo>
                    <a:lnTo>
                      <a:pt x="2" y="815"/>
                    </a:lnTo>
                    <a:lnTo>
                      <a:pt x="6" y="832"/>
                    </a:lnTo>
                    <a:lnTo>
                      <a:pt x="10" y="847"/>
                    </a:lnTo>
                    <a:lnTo>
                      <a:pt x="15" y="862"/>
                    </a:lnTo>
                    <a:lnTo>
                      <a:pt x="23" y="875"/>
                    </a:lnTo>
                    <a:lnTo>
                      <a:pt x="32" y="887"/>
                    </a:lnTo>
                    <a:lnTo>
                      <a:pt x="44" y="896"/>
                    </a:lnTo>
                    <a:lnTo>
                      <a:pt x="57" y="905"/>
                    </a:lnTo>
                    <a:lnTo>
                      <a:pt x="72" y="913"/>
                    </a:lnTo>
                    <a:lnTo>
                      <a:pt x="89" y="918"/>
                    </a:lnTo>
                    <a:lnTo>
                      <a:pt x="107" y="924"/>
                    </a:lnTo>
                    <a:lnTo>
                      <a:pt x="128" y="928"/>
                    </a:lnTo>
                    <a:lnTo>
                      <a:pt x="153" y="930"/>
                    </a:lnTo>
                    <a:lnTo>
                      <a:pt x="153" y="930"/>
                    </a:lnTo>
                    <a:lnTo>
                      <a:pt x="333" y="928"/>
                    </a:lnTo>
                    <a:lnTo>
                      <a:pt x="500" y="924"/>
                    </a:lnTo>
                    <a:lnTo>
                      <a:pt x="665" y="918"/>
                    </a:lnTo>
                    <a:lnTo>
                      <a:pt x="840" y="911"/>
                    </a:lnTo>
                    <a:lnTo>
                      <a:pt x="840" y="911"/>
                    </a:lnTo>
                    <a:lnTo>
                      <a:pt x="864" y="890"/>
                    </a:lnTo>
                    <a:lnTo>
                      <a:pt x="889" y="868"/>
                    </a:lnTo>
                    <a:lnTo>
                      <a:pt x="909" y="845"/>
                    </a:lnTo>
                    <a:lnTo>
                      <a:pt x="932" y="821"/>
                    </a:lnTo>
                    <a:lnTo>
                      <a:pt x="951" y="794"/>
                    </a:lnTo>
                    <a:lnTo>
                      <a:pt x="970" y="768"/>
                    </a:lnTo>
                    <a:lnTo>
                      <a:pt x="1005" y="716"/>
                    </a:lnTo>
                    <a:lnTo>
                      <a:pt x="1039" y="659"/>
                    </a:lnTo>
                    <a:lnTo>
                      <a:pt x="1075" y="605"/>
                    </a:lnTo>
                    <a:lnTo>
                      <a:pt x="1112" y="550"/>
                    </a:lnTo>
                    <a:lnTo>
                      <a:pt x="1131" y="526"/>
                    </a:lnTo>
                    <a:lnTo>
                      <a:pt x="1152" y="501"/>
                    </a:lnTo>
                    <a:lnTo>
                      <a:pt x="1152" y="501"/>
                    </a:lnTo>
                    <a:lnTo>
                      <a:pt x="1152" y="1131"/>
                    </a:lnTo>
                    <a:lnTo>
                      <a:pt x="1152" y="1760"/>
                    </a:lnTo>
                    <a:lnTo>
                      <a:pt x="1152" y="3018"/>
                    </a:lnTo>
                    <a:lnTo>
                      <a:pt x="1152" y="3018"/>
                    </a:lnTo>
                    <a:lnTo>
                      <a:pt x="1150" y="3037"/>
                    </a:lnTo>
                    <a:lnTo>
                      <a:pt x="1150" y="3056"/>
                    </a:lnTo>
                    <a:lnTo>
                      <a:pt x="1152" y="3075"/>
                    </a:lnTo>
                    <a:lnTo>
                      <a:pt x="1155" y="3093"/>
                    </a:lnTo>
                    <a:lnTo>
                      <a:pt x="1159" y="3110"/>
                    </a:lnTo>
                    <a:lnTo>
                      <a:pt x="1165" y="3129"/>
                    </a:lnTo>
                    <a:lnTo>
                      <a:pt x="1172" y="3146"/>
                    </a:lnTo>
                    <a:lnTo>
                      <a:pt x="1182" y="3163"/>
                    </a:lnTo>
                    <a:lnTo>
                      <a:pt x="1191" y="3178"/>
                    </a:lnTo>
                    <a:lnTo>
                      <a:pt x="1202" y="3191"/>
                    </a:lnTo>
                    <a:lnTo>
                      <a:pt x="1216" y="3202"/>
                    </a:lnTo>
                    <a:lnTo>
                      <a:pt x="1231" y="3212"/>
                    </a:lnTo>
                    <a:lnTo>
                      <a:pt x="1247" y="3219"/>
                    </a:lnTo>
                    <a:lnTo>
                      <a:pt x="1264" y="3225"/>
                    </a:lnTo>
                    <a:lnTo>
                      <a:pt x="1283" y="3227"/>
                    </a:lnTo>
                    <a:lnTo>
                      <a:pt x="1304" y="3227"/>
                    </a:lnTo>
                    <a:lnTo>
                      <a:pt x="1304" y="3227"/>
                    </a:lnTo>
                    <a:lnTo>
                      <a:pt x="1323" y="3229"/>
                    </a:lnTo>
                    <a:lnTo>
                      <a:pt x="1343" y="3229"/>
                    </a:lnTo>
                    <a:lnTo>
                      <a:pt x="1362" y="3227"/>
                    </a:lnTo>
                    <a:lnTo>
                      <a:pt x="1379" y="3223"/>
                    </a:lnTo>
                    <a:lnTo>
                      <a:pt x="1398" y="3216"/>
                    </a:lnTo>
                    <a:lnTo>
                      <a:pt x="1415" y="3208"/>
                    </a:lnTo>
                    <a:lnTo>
                      <a:pt x="1430" y="3199"/>
                    </a:lnTo>
                    <a:lnTo>
                      <a:pt x="1445" y="3187"/>
                    </a:lnTo>
                    <a:lnTo>
                      <a:pt x="1458" y="3176"/>
                    </a:lnTo>
                    <a:lnTo>
                      <a:pt x="1471" y="3161"/>
                    </a:lnTo>
                    <a:lnTo>
                      <a:pt x="1480" y="3146"/>
                    </a:lnTo>
                    <a:lnTo>
                      <a:pt x="1490" y="3131"/>
                    </a:lnTo>
                    <a:lnTo>
                      <a:pt x="1497" y="3114"/>
                    </a:lnTo>
                    <a:lnTo>
                      <a:pt x="1503" y="3095"/>
                    </a:lnTo>
                    <a:lnTo>
                      <a:pt x="1505" y="3077"/>
                    </a:lnTo>
                    <a:lnTo>
                      <a:pt x="1507" y="3056"/>
                    </a:lnTo>
                    <a:lnTo>
                      <a:pt x="1507" y="3056"/>
                    </a:lnTo>
                    <a:lnTo>
                      <a:pt x="1507" y="2314"/>
                    </a:lnTo>
                    <a:lnTo>
                      <a:pt x="1507" y="1572"/>
                    </a:lnTo>
                    <a:lnTo>
                      <a:pt x="1507" y="1572"/>
                    </a:lnTo>
                    <a:lnTo>
                      <a:pt x="1604" y="1572"/>
                    </a:lnTo>
                    <a:lnTo>
                      <a:pt x="1604" y="1572"/>
                    </a:lnTo>
                    <a:lnTo>
                      <a:pt x="1606" y="1762"/>
                    </a:lnTo>
                    <a:lnTo>
                      <a:pt x="1606" y="1953"/>
                    </a:lnTo>
                    <a:lnTo>
                      <a:pt x="1606" y="2333"/>
                    </a:lnTo>
                    <a:lnTo>
                      <a:pt x="1606" y="2712"/>
                    </a:lnTo>
                    <a:lnTo>
                      <a:pt x="1606" y="2902"/>
                    </a:lnTo>
                    <a:lnTo>
                      <a:pt x="1610" y="3092"/>
                    </a:lnTo>
                    <a:lnTo>
                      <a:pt x="1610" y="3092"/>
                    </a:lnTo>
                    <a:lnTo>
                      <a:pt x="1610" y="3110"/>
                    </a:lnTo>
                    <a:lnTo>
                      <a:pt x="1612" y="3127"/>
                    </a:lnTo>
                    <a:lnTo>
                      <a:pt x="1616" y="3142"/>
                    </a:lnTo>
                    <a:lnTo>
                      <a:pt x="1621" y="3157"/>
                    </a:lnTo>
                    <a:lnTo>
                      <a:pt x="1631" y="3170"/>
                    </a:lnTo>
                    <a:lnTo>
                      <a:pt x="1640" y="3182"/>
                    </a:lnTo>
                    <a:lnTo>
                      <a:pt x="1651" y="3193"/>
                    </a:lnTo>
                    <a:lnTo>
                      <a:pt x="1664" y="3201"/>
                    </a:lnTo>
                    <a:lnTo>
                      <a:pt x="1678" y="3210"/>
                    </a:lnTo>
                    <a:lnTo>
                      <a:pt x="1693" y="3216"/>
                    </a:lnTo>
                    <a:lnTo>
                      <a:pt x="1708" y="3221"/>
                    </a:lnTo>
                    <a:lnTo>
                      <a:pt x="1724" y="3225"/>
                    </a:lnTo>
                    <a:lnTo>
                      <a:pt x="1741" y="3227"/>
                    </a:lnTo>
                    <a:lnTo>
                      <a:pt x="1758" y="3229"/>
                    </a:lnTo>
                    <a:lnTo>
                      <a:pt x="1775" y="3229"/>
                    </a:lnTo>
                    <a:lnTo>
                      <a:pt x="1790" y="3227"/>
                    </a:lnTo>
                    <a:lnTo>
                      <a:pt x="1790" y="3227"/>
                    </a:lnTo>
                    <a:lnTo>
                      <a:pt x="1811" y="3225"/>
                    </a:lnTo>
                    <a:lnTo>
                      <a:pt x="1828" y="3221"/>
                    </a:lnTo>
                    <a:lnTo>
                      <a:pt x="1847" y="3216"/>
                    </a:lnTo>
                    <a:lnTo>
                      <a:pt x="1862" y="3208"/>
                    </a:lnTo>
                    <a:lnTo>
                      <a:pt x="1877" y="3199"/>
                    </a:lnTo>
                    <a:lnTo>
                      <a:pt x="1892" y="3187"/>
                    </a:lnTo>
                    <a:lnTo>
                      <a:pt x="1903" y="3174"/>
                    </a:lnTo>
                    <a:lnTo>
                      <a:pt x="1916" y="3159"/>
                    </a:lnTo>
                    <a:lnTo>
                      <a:pt x="1925" y="3144"/>
                    </a:lnTo>
                    <a:lnTo>
                      <a:pt x="1935" y="3129"/>
                    </a:lnTo>
                    <a:lnTo>
                      <a:pt x="1942" y="3112"/>
                    </a:lnTo>
                    <a:lnTo>
                      <a:pt x="1948" y="3093"/>
                    </a:lnTo>
                    <a:lnTo>
                      <a:pt x="1954" y="3077"/>
                    </a:lnTo>
                    <a:lnTo>
                      <a:pt x="1957" y="3058"/>
                    </a:lnTo>
                    <a:lnTo>
                      <a:pt x="1959" y="3039"/>
                    </a:lnTo>
                    <a:lnTo>
                      <a:pt x="1961" y="3022"/>
                    </a:lnTo>
                    <a:lnTo>
                      <a:pt x="1961" y="3022"/>
                    </a:lnTo>
                    <a:lnTo>
                      <a:pt x="1961" y="1773"/>
                    </a:lnTo>
                    <a:lnTo>
                      <a:pt x="1961" y="524"/>
                    </a:lnTo>
                    <a:lnTo>
                      <a:pt x="1961" y="524"/>
                    </a:lnTo>
                    <a:lnTo>
                      <a:pt x="2059" y="526"/>
                    </a:lnTo>
                    <a:lnTo>
                      <a:pt x="2059" y="526"/>
                    </a:lnTo>
                    <a:lnTo>
                      <a:pt x="2061" y="755"/>
                    </a:lnTo>
                    <a:lnTo>
                      <a:pt x="2061" y="982"/>
                    </a:lnTo>
                    <a:lnTo>
                      <a:pt x="2061" y="1211"/>
                    </a:lnTo>
                    <a:lnTo>
                      <a:pt x="2061" y="1326"/>
                    </a:lnTo>
                    <a:lnTo>
                      <a:pt x="2063" y="1439"/>
                    </a:lnTo>
                    <a:lnTo>
                      <a:pt x="2063" y="1439"/>
                    </a:lnTo>
                    <a:lnTo>
                      <a:pt x="2064" y="1465"/>
                    </a:lnTo>
                    <a:lnTo>
                      <a:pt x="2068" y="1488"/>
                    </a:lnTo>
                    <a:lnTo>
                      <a:pt x="2078" y="1510"/>
                    </a:lnTo>
                    <a:lnTo>
                      <a:pt x="2083" y="1521"/>
                    </a:lnTo>
                    <a:lnTo>
                      <a:pt x="2089" y="1531"/>
                    </a:lnTo>
                    <a:lnTo>
                      <a:pt x="2096" y="1538"/>
                    </a:lnTo>
                    <a:lnTo>
                      <a:pt x="2104" y="1548"/>
                    </a:lnTo>
                    <a:lnTo>
                      <a:pt x="2113" y="1553"/>
                    </a:lnTo>
                    <a:lnTo>
                      <a:pt x="2125" y="1561"/>
                    </a:lnTo>
                    <a:lnTo>
                      <a:pt x="2134" y="1565"/>
                    </a:lnTo>
                    <a:lnTo>
                      <a:pt x="2147" y="1568"/>
                    </a:lnTo>
                    <a:lnTo>
                      <a:pt x="2158" y="1572"/>
                    </a:lnTo>
                    <a:lnTo>
                      <a:pt x="2171" y="1572"/>
                    </a:lnTo>
                    <a:lnTo>
                      <a:pt x="2171" y="1572"/>
                    </a:lnTo>
                    <a:lnTo>
                      <a:pt x="2190" y="1576"/>
                    </a:lnTo>
                    <a:lnTo>
                      <a:pt x="2207" y="1578"/>
                    </a:lnTo>
                    <a:lnTo>
                      <a:pt x="2224" y="1576"/>
                    </a:lnTo>
                    <a:lnTo>
                      <a:pt x="2239" y="1572"/>
                    </a:lnTo>
                    <a:lnTo>
                      <a:pt x="2254" y="1565"/>
                    </a:lnTo>
                    <a:lnTo>
                      <a:pt x="2267" y="1555"/>
                    </a:lnTo>
                    <a:lnTo>
                      <a:pt x="2279" y="1546"/>
                    </a:lnTo>
                    <a:lnTo>
                      <a:pt x="2290" y="1533"/>
                    </a:lnTo>
                    <a:lnTo>
                      <a:pt x="2299" y="1518"/>
                    </a:lnTo>
                    <a:lnTo>
                      <a:pt x="2309" y="1503"/>
                    </a:lnTo>
                    <a:lnTo>
                      <a:pt x="2316" y="1488"/>
                    </a:lnTo>
                    <a:lnTo>
                      <a:pt x="2322" y="1471"/>
                    </a:lnTo>
                    <a:lnTo>
                      <a:pt x="2325" y="1454"/>
                    </a:lnTo>
                    <a:lnTo>
                      <a:pt x="2329" y="1437"/>
                    </a:lnTo>
                    <a:lnTo>
                      <a:pt x="2331" y="1422"/>
                    </a:lnTo>
                    <a:lnTo>
                      <a:pt x="2331" y="1405"/>
                    </a:lnTo>
                    <a:lnTo>
                      <a:pt x="2331" y="1405"/>
                    </a:lnTo>
                    <a:lnTo>
                      <a:pt x="2333" y="932"/>
                    </a:lnTo>
                    <a:lnTo>
                      <a:pt x="2333" y="456"/>
                    </a:lnTo>
                    <a:lnTo>
                      <a:pt x="2333" y="45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5" name="Freeform 42"/>
              <p:cNvSpPr>
                <a:spLocks/>
              </p:cNvSpPr>
              <p:nvPr/>
            </p:nvSpPr>
            <p:spPr bwMode="auto">
              <a:xfrm>
                <a:off x="241685" y="4057495"/>
                <a:ext cx="68982" cy="89612"/>
              </a:xfrm>
              <a:custGeom>
                <a:avLst/>
                <a:gdLst>
                  <a:gd name="T0" fmla="*/ 252 w 428"/>
                  <a:gd name="T1" fmla="*/ 0 h 556"/>
                  <a:gd name="T2" fmla="*/ 0 w 428"/>
                  <a:gd name="T3" fmla="*/ 95 h 556"/>
                  <a:gd name="T4" fmla="*/ 175 w 428"/>
                  <a:gd name="T5" fmla="*/ 556 h 556"/>
                  <a:gd name="T6" fmla="*/ 428 w 428"/>
                  <a:gd name="T7" fmla="*/ 460 h 556"/>
                  <a:gd name="T8" fmla="*/ 252 w 428"/>
                  <a:gd name="T9" fmla="*/ 0 h 556"/>
                </a:gdLst>
                <a:ahLst/>
                <a:cxnLst>
                  <a:cxn ang="0">
                    <a:pos x="T0" y="T1"/>
                  </a:cxn>
                  <a:cxn ang="0">
                    <a:pos x="T2" y="T3"/>
                  </a:cxn>
                  <a:cxn ang="0">
                    <a:pos x="T4" y="T5"/>
                  </a:cxn>
                  <a:cxn ang="0">
                    <a:pos x="T6" y="T7"/>
                  </a:cxn>
                  <a:cxn ang="0">
                    <a:pos x="T8" y="T9"/>
                  </a:cxn>
                </a:cxnLst>
                <a:rect l="0" t="0" r="r" b="b"/>
                <a:pathLst>
                  <a:path w="428" h="556">
                    <a:moveTo>
                      <a:pt x="252" y="0"/>
                    </a:moveTo>
                    <a:lnTo>
                      <a:pt x="0" y="95"/>
                    </a:lnTo>
                    <a:lnTo>
                      <a:pt x="175" y="556"/>
                    </a:lnTo>
                    <a:lnTo>
                      <a:pt x="428" y="460"/>
                    </a:lnTo>
                    <a:lnTo>
                      <a:pt x="252"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6" name="Freeform 43"/>
              <p:cNvSpPr>
                <a:spLocks/>
              </p:cNvSpPr>
              <p:nvPr/>
            </p:nvSpPr>
            <p:spPr bwMode="auto">
              <a:xfrm>
                <a:off x="254095" y="4069905"/>
                <a:ext cx="44000" cy="6479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rgbClr val="255059"/>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573" name="Group 572"/>
            <p:cNvGrpSpPr/>
            <p:nvPr/>
          </p:nvGrpSpPr>
          <p:grpSpPr>
            <a:xfrm rot="13290159">
              <a:off x="10091765" y="5672530"/>
              <a:ext cx="89612" cy="132564"/>
              <a:chOff x="2687372" y="3149601"/>
              <a:chExt cx="81465" cy="132564"/>
            </a:xfrm>
            <a:solidFill>
              <a:schemeClr val="accent1"/>
            </a:solidFill>
          </p:grpSpPr>
          <p:sp>
            <p:nvSpPr>
              <p:cNvPr id="57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7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82"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sp>
        <p:nvSpPr>
          <p:cNvPr id="371" name="Rectangle 370"/>
          <p:cNvSpPr/>
          <p:nvPr/>
        </p:nvSpPr>
        <p:spPr bwMode="auto">
          <a:xfrm>
            <a:off x="7247454" y="1876901"/>
            <a:ext cx="2614536" cy="2656133"/>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1182" name="Group 1181"/>
          <p:cNvGrpSpPr/>
          <p:nvPr/>
        </p:nvGrpSpPr>
        <p:grpSpPr>
          <a:xfrm>
            <a:off x="7286327" y="1921476"/>
            <a:ext cx="2544755" cy="2588250"/>
            <a:chOff x="199444" y="1932654"/>
            <a:chExt cx="1691879" cy="1585517"/>
          </a:xfrm>
        </p:grpSpPr>
        <p:sp>
          <p:nvSpPr>
            <p:cNvPr id="1189" name="Trapezoid 1188"/>
            <p:cNvSpPr/>
            <p:nvPr/>
          </p:nvSpPr>
          <p:spPr bwMode="auto">
            <a:xfrm>
              <a:off x="203676" y="3200073"/>
              <a:ext cx="1682885" cy="313274"/>
            </a:xfrm>
            <a:prstGeom prst="trapezoid">
              <a:avLst>
                <a:gd name="adj" fmla="val 67797"/>
              </a:avLst>
            </a:prstGeom>
            <a:solidFill>
              <a:srgbClr val="004B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1184" name="Group 1183"/>
            <p:cNvGrpSpPr/>
            <p:nvPr/>
          </p:nvGrpSpPr>
          <p:grpSpPr>
            <a:xfrm>
              <a:off x="199444" y="1932654"/>
              <a:ext cx="1691879" cy="1585517"/>
              <a:chOff x="114794" y="583668"/>
              <a:chExt cx="3534424" cy="3543635"/>
            </a:xfrm>
          </p:grpSpPr>
          <p:sp>
            <p:nvSpPr>
              <p:cNvPr id="1185" name="Rectangle 1184"/>
              <p:cNvSpPr/>
              <p:nvPr/>
            </p:nvSpPr>
            <p:spPr bwMode="auto">
              <a:xfrm>
                <a:off x="607548" y="583668"/>
                <a:ext cx="2543904" cy="2819442"/>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86" name="Trapezoid 302"/>
              <p:cNvSpPr/>
              <p:nvPr/>
            </p:nvSpPr>
            <p:spPr bwMode="auto">
              <a:xfrm rot="16200000">
                <a:off x="2292621" y="2770705"/>
                <a:ext cx="2234396" cy="478799"/>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 name="connsiteX0" fmla="*/ 0 w 2234395"/>
                  <a:gd name="connsiteY0" fmla="*/ 297477 h 297477"/>
                  <a:gd name="connsiteX1" fmla="*/ 716023 w 2234395"/>
                  <a:gd name="connsiteY1" fmla="*/ 0 h 297477"/>
                  <a:gd name="connsiteX2" fmla="*/ 2234395 w 2234395"/>
                  <a:gd name="connsiteY2" fmla="*/ 1500 h 297477"/>
                  <a:gd name="connsiteX3" fmla="*/ 2232737 w 2234395"/>
                  <a:gd name="connsiteY3" fmla="*/ 297477 h 297477"/>
                  <a:gd name="connsiteX4" fmla="*/ 0 w 2234395"/>
                  <a:gd name="connsiteY4" fmla="*/ 297477 h 297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297477">
                    <a:moveTo>
                      <a:pt x="0" y="297477"/>
                    </a:moveTo>
                    <a:lnTo>
                      <a:pt x="716023" y="0"/>
                    </a:lnTo>
                    <a:lnTo>
                      <a:pt x="2234395" y="1500"/>
                    </a:lnTo>
                    <a:cubicBezTo>
                      <a:pt x="2233842" y="100159"/>
                      <a:pt x="2233290" y="198818"/>
                      <a:pt x="2232737" y="297477"/>
                    </a:cubicBezTo>
                    <a:lnTo>
                      <a:pt x="0" y="297477"/>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87" name="Trapezoid 302"/>
              <p:cNvSpPr/>
              <p:nvPr/>
            </p:nvSpPr>
            <p:spPr bwMode="auto">
              <a:xfrm rot="5400000" flipH="1">
                <a:off x="-758895" y="2766595"/>
                <a:ext cx="2234395" cy="487018"/>
              </a:xfrm>
              <a:custGeom>
                <a:avLst/>
                <a:gdLst>
                  <a:gd name="connsiteX0" fmla="*/ 0 w 2232737"/>
                  <a:gd name="connsiteY0" fmla="*/ 270580 h 270580"/>
                  <a:gd name="connsiteX1" fmla="*/ 379342 w 2232737"/>
                  <a:gd name="connsiteY1" fmla="*/ 0 h 270580"/>
                  <a:gd name="connsiteX2" fmla="*/ 1853395 w 2232737"/>
                  <a:gd name="connsiteY2" fmla="*/ 0 h 270580"/>
                  <a:gd name="connsiteX3" fmla="*/ 2232737 w 2232737"/>
                  <a:gd name="connsiteY3" fmla="*/ 270580 h 270580"/>
                  <a:gd name="connsiteX4" fmla="*/ 0 w 2232737"/>
                  <a:gd name="connsiteY4" fmla="*/ 270580 h 270580"/>
                  <a:gd name="connsiteX0" fmla="*/ 0 w 2234395"/>
                  <a:gd name="connsiteY0" fmla="*/ 295977 h 295977"/>
                  <a:gd name="connsiteX1" fmla="*/ 379342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65608 w 2234395"/>
                  <a:gd name="connsiteY1" fmla="*/ 25397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295977 h 295977"/>
                  <a:gd name="connsiteX1" fmla="*/ 591365 w 2234395"/>
                  <a:gd name="connsiteY1" fmla="*/ 13396 h 295977"/>
                  <a:gd name="connsiteX2" fmla="*/ 2234395 w 2234395"/>
                  <a:gd name="connsiteY2" fmla="*/ 0 h 295977"/>
                  <a:gd name="connsiteX3" fmla="*/ 2232737 w 2234395"/>
                  <a:gd name="connsiteY3" fmla="*/ 295977 h 295977"/>
                  <a:gd name="connsiteX4" fmla="*/ 0 w 2234395"/>
                  <a:gd name="connsiteY4" fmla="*/ 295977 h 295977"/>
                  <a:gd name="connsiteX0" fmla="*/ 0 w 2234395"/>
                  <a:gd name="connsiteY0" fmla="*/ 302584 h 302584"/>
                  <a:gd name="connsiteX1" fmla="*/ 610683 w 2234395"/>
                  <a:gd name="connsiteY1" fmla="*/ 0 h 302584"/>
                  <a:gd name="connsiteX2" fmla="*/ 2234395 w 2234395"/>
                  <a:gd name="connsiteY2" fmla="*/ 6607 h 302584"/>
                  <a:gd name="connsiteX3" fmla="*/ 2232737 w 2234395"/>
                  <a:gd name="connsiteY3" fmla="*/ 302584 h 302584"/>
                  <a:gd name="connsiteX4" fmla="*/ 0 w 2234395"/>
                  <a:gd name="connsiteY4" fmla="*/ 302584 h 30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395" h="302584">
                    <a:moveTo>
                      <a:pt x="0" y="302584"/>
                    </a:moveTo>
                    <a:lnTo>
                      <a:pt x="610683" y="0"/>
                    </a:lnTo>
                    <a:lnTo>
                      <a:pt x="2234395" y="6607"/>
                    </a:lnTo>
                    <a:cubicBezTo>
                      <a:pt x="2233842" y="105266"/>
                      <a:pt x="2233290" y="203925"/>
                      <a:pt x="2232737" y="302584"/>
                    </a:cubicBezTo>
                    <a:lnTo>
                      <a:pt x="0" y="302584"/>
                    </a:lnTo>
                    <a:close/>
                  </a:path>
                </a:pathLst>
              </a:custGeom>
              <a:gradFill flip="none" rotWithShape="1">
                <a:gsLst>
                  <a:gs pos="0">
                    <a:srgbClr val="000608">
                      <a:alpha val="0"/>
                      <a:lumMod val="43000"/>
                    </a:srgbClr>
                  </a:gs>
                  <a:gs pos="100000">
                    <a:schemeClr val="accent1">
                      <a:alpha val="41000"/>
                      <a:lumMod val="43000"/>
                    </a:schemeClr>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sp>
        <p:nvSpPr>
          <p:cNvPr id="10" name="Trapezoid 9"/>
          <p:cNvSpPr/>
          <p:nvPr/>
        </p:nvSpPr>
        <p:spPr bwMode="auto">
          <a:xfrm>
            <a:off x="7467727" y="4214386"/>
            <a:ext cx="1167418" cy="212158"/>
          </a:xfrm>
          <a:prstGeom prst="trapezoid">
            <a:avLst>
              <a:gd name="adj" fmla="val 80666"/>
            </a:avLst>
          </a:prstGeom>
          <a:solidFill>
            <a:srgbClr val="00AFED">
              <a:alpha val="50000"/>
            </a:srgbClr>
          </a:solidFill>
          <a:ln w="19050">
            <a:solidFill>
              <a:srgbClr val="00AFE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373" name="Group 372"/>
          <p:cNvGrpSpPr/>
          <p:nvPr/>
        </p:nvGrpSpPr>
        <p:grpSpPr>
          <a:xfrm>
            <a:off x="5496914" y="1318293"/>
            <a:ext cx="1476375" cy="1476375"/>
            <a:chOff x="12938991" y="3310221"/>
            <a:chExt cx="1476375" cy="1476375"/>
          </a:xfrm>
        </p:grpSpPr>
        <p:sp>
          <p:nvSpPr>
            <p:cNvPr id="374" name="Freeform 25"/>
            <p:cNvSpPr>
              <a:spLocks/>
            </p:cNvSpPr>
            <p:nvPr/>
          </p:nvSpPr>
          <p:spPr bwMode="auto">
            <a:xfrm>
              <a:off x="12938991" y="3310221"/>
              <a:ext cx="1476375" cy="1476375"/>
            </a:xfrm>
            <a:custGeom>
              <a:avLst/>
              <a:gdLst>
                <a:gd name="T0" fmla="*/ 0 w 930"/>
                <a:gd name="T1" fmla="*/ 466 h 930"/>
                <a:gd name="T2" fmla="*/ 2 w 930"/>
                <a:gd name="T3" fmla="*/ 418 h 930"/>
                <a:gd name="T4" fmla="*/ 20 w 930"/>
                <a:gd name="T5" fmla="*/ 328 h 930"/>
                <a:gd name="T6" fmla="*/ 56 w 930"/>
                <a:gd name="T7" fmla="*/ 244 h 930"/>
                <a:gd name="T8" fmla="*/ 106 w 930"/>
                <a:gd name="T9" fmla="*/ 170 h 930"/>
                <a:gd name="T10" fmla="*/ 170 w 930"/>
                <a:gd name="T11" fmla="*/ 106 h 930"/>
                <a:gd name="T12" fmla="*/ 244 w 930"/>
                <a:gd name="T13" fmla="*/ 56 h 930"/>
                <a:gd name="T14" fmla="*/ 326 w 930"/>
                <a:gd name="T15" fmla="*/ 22 h 930"/>
                <a:gd name="T16" fmla="*/ 418 w 930"/>
                <a:gd name="T17" fmla="*/ 4 h 930"/>
                <a:gd name="T18" fmla="*/ 464 w 930"/>
                <a:gd name="T19" fmla="*/ 0 h 930"/>
                <a:gd name="T20" fmla="*/ 488 w 930"/>
                <a:gd name="T21" fmla="*/ 2 h 930"/>
                <a:gd name="T22" fmla="*/ 558 w 930"/>
                <a:gd name="T23" fmla="*/ 10 h 930"/>
                <a:gd name="T24" fmla="*/ 646 w 930"/>
                <a:gd name="T25" fmla="*/ 38 h 930"/>
                <a:gd name="T26" fmla="*/ 724 w 930"/>
                <a:gd name="T27" fmla="*/ 80 h 930"/>
                <a:gd name="T28" fmla="*/ 794 w 930"/>
                <a:gd name="T29" fmla="*/ 136 h 930"/>
                <a:gd name="T30" fmla="*/ 850 w 930"/>
                <a:gd name="T31" fmla="*/ 206 h 930"/>
                <a:gd name="T32" fmla="*/ 894 w 930"/>
                <a:gd name="T33" fmla="*/ 284 h 930"/>
                <a:gd name="T34" fmla="*/ 920 w 930"/>
                <a:gd name="T35" fmla="*/ 372 h 930"/>
                <a:gd name="T36" fmla="*/ 930 w 930"/>
                <a:gd name="T37" fmla="*/ 442 h 930"/>
                <a:gd name="T38" fmla="*/ 930 w 930"/>
                <a:gd name="T39" fmla="*/ 466 h 930"/>
                <a:gd name="T40" fmla="*/ 930 w 930"/>
                <a:gd name="T41" fmla="*/ 490 h 930"/>
                <a:gd name="T42" fmla="*/ 920 w 930"/>
                <a:gd name="T43" fmla="*/ 560 h 930"/>
                <a:gd name="T44" fmla="*/ 894 w 930"/>
                <a:gd name="T45" fmla="*/ 646 h 930"/>
                <a:gd name="T46" fmla="*/ 850 w 930"/>
                <a:gd name="T47" fmla="*/ 726 h 930"/>
                <a:gd name="T48" fmla="*/ 794 w 930"/>
                <a:gd name="T49" fmla="*/ 794 h 930"/>
                <a:gd name="T50" fmla="*/ 724 w 930"/>
                <a:gd name="T51" fmla="*/ 852 h 930"/>
                <a:gd name="T52" fmla="*/ 646 w 930"/>
                <a:gd name="T53" fmla="*/ 894 h 930"/>
                <a:gd name="T54" fmla="*/ 558 w 930"/>
                <a:gd name="T55" fmla="*/ 920 h 930"/>
                <a:gd name="T56" fmla="*/ 488 w 930"/>
                <a:gd name="T57" fmla="*/ 930 h 930"/>
                <a:gd name="T58" fmla="*/ 464 w 930"/>
                <a:gd name="T59" fmla="*/ 930 h 930"/>
                <a:gd name="T60" fmla="*/ 418 w 930"/>
                <a:gd name="T61" fmla="*/ 928 h 930"/>
                <a:gd name="T62" fmla="*/ 326 w 930"/>
                <a:gd name="T63" fmla="*/ 910 h 930"/>
                <a:gd name="T64" fmla="*/ 244 w 930"/>
                <a:gd name="T65" fmla="*/ 874 h 930"/>
                <a:gd name="T66" fmla="*/ 170 w 930"/>
                <a:gd name="T67" fmla="*/ 824 h 930"/>
                <a:gd name="T68" fmla="*/ 106 w 930"/>
                <a:gd name="T69" fmla="*/ 762 h 930"/>
                <a:gd name="T70" fmla="*/ 56 w 930"/>
                <a:gd name="T71" fmla="*/ 688 h 930"/>
                <a:gd name="T72" fmla="*/ 20 w 930"/>
                <a:gd name="T73" fmla="*/ 604 h 930"/>
                <a:gd name="T74" fmla="*/ 2 w 930"/>
                <a:gd name="T75" fmla="*/ 514 h 930"/>
                <a:gd name="T76" fmla="*/ 0 w 930"/>
                <a:gd name="T77" fmla="*/ 466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0" h="930">
                  <a:moveTo>
                    <a:pt x="0" y="466"/>
                  </a:moveTo>
                  <a:lnTo>
                    <a:pt x="0" y="466"/>
                  </a:lnTo>
                  <a:lnTo>
                    <a:pt x="0" y="442"/>
                  </a:lnTo>
                  <a:lnTo>
                    <a:pt x="2" y="418"/>
                  </a:lnTo>
                  <a:lnTo>
                    <a:pt x="10" y="372"/>
                  </a:lnTo>
                  <a:lnTo>
                    <a:pt x="20" y="328"/>
                  </a:lnTo>
                  <a:lnTo>
                    <a:pt x="36" y="284"/>
                  </a:lnTo>
                  <a:lnTo>
                    <a:pt x="56" y="244"/>
                  </a:lnTo>
                  <a:lnTo>
                    <a:pt x="80" y="206"/>
                  </a:lnTo>
                  <a:lnTo>
                    <a:pt x="106" y="170"/>
                  </a:lnTo>
                  <a:lnTo>
                    <a:pt x="136" y="136"/>
                  </a:lnTo>
                  <a:lnTo>
                    <a:pt x="170" y="106"/>
                  </a:lnTo>
                  <a:lnTo>
                    <a:pt x="204" y="80"/>
                  </a:lnTo>
                  <a:lnTo>
                    <a:pt x="244" y="56"/>
                  </a:lnTo>
                  <a:lnTo>
                    <a:pt x="284" y="38"/>
                  </a:lnTo>
                  <a:lnTo>
                    <a:pt x="326" y="22"/>
                  </a:lnTo>
                  <a:lnTo>
                    <a:pt x="372" y="10"/>
                  </a:lnTo>
                  <a:lnTo>
                    <a:pt x="418" y="4"/>
                  </a:lnTo>
                  <a:lnTo>
                    <a:pt x="440" y="2"/>
                  </a:lnTo>
                  <a:lnTo>
                    <a:pt x="464" y="0"/>
                  </a:lnTo>
                  <a:lnTo>
                    <a:pt x="464" y="0"/>
                  </a:lnTo>
                  <a:lnTo>
                    <a:pt x="488" y="2"/>
                  </a:lnTo>
                  <a:lnTo>
                    <a:pt x="512" y="4"/>
                  </a:lnTo>
                  <a:lnTo>
                    <a:pt x="558" y="10"/>
                  </a:lnTo>
                  <a:lnTo>
                    <a:pt x="604" y="22"/>
                  </a:lnTo>
                  <a:lnTo>
                    <a:pt x="646" y="38"/>
                  </a:lnTo>
                  <a:lnTo>
                    <a:pt x="686" y="56"/>
                  </a:lnTo>
                  <a:lnTo>
                    <a:pt x="724" y="80"/>
                  </a:lnTo>
                  <a:lnTo>
                    <a:pt x="760" y="106"/>
                  </a:lnTo>
                  <a:lnTo>
                    <a:pt x="794" y="136"/>
                  </a:lnTo>
                  <a:lnTo>
                    <a:pt x="824" y="170"/>
                  </a:lnTo>
                  <a:lnTo>
                    <a:pt x="850" y="206"/>
                  </a:lnTo>
                  <a:lnTo>
                    <a:pt x="874" y="244"/>
                  </a:lnTo>
                  <a:lnTo>
                    <a:pt x="894" y="284"/>
                  </a:lnTo>
                  <a:lnTo>
                    <a:pt x="908" y="328"/>
                  </a:lnTo>
                  <a:lnTo>
                    <a:pt x="920" y="372"/>
                  </a:lnTo>
                  <a:lnTo>
                    <a:pt x="928" y="418"/>
                  </a:lnTo>
                  <a:lnTo>
                    <a:pt x="930" y="442"/>
                  </a:lnTo>
                  <a:lnTo>
                    <a:pt x="930" y="466"/>
                  </a:lnTo>
                  <a:lnTo>
                    <a:pt x="930" y="466"/>
                  </a:lnTo>
                  <a:lnTo>
                    <a:pt x="930" y="466"/>
                  </a:lnTo>
                  <a:lnTo>
                    <a:pt x="930" y="490"/>
                  </a:lnTo>
                  <a:lnTo>
                    <a:pt x="928" y="514"/>
                  </a:lnTo>
                  <a:lnTo>
                    <a:pt x="920" y="560"/>
                  </a:lnTo>
                  <a:lnTo>
                    <a:pt x="908" y="604"/>
                  </a:lnTo>
                  <a:lnTo>
                    <a:pt x="894" y="646"/>
                  </a:lnTo>
                  <a:lnTo>
                    <a:pt x="874" y="688"/>
                  </a:lnTo>
                  <a:lnTo>
                    <a:pt x="850" y="726"/>
                  </a:lnTo>
                  <a:lnTo>
                    <a:pt x="824" y="762"/>
                  </a:lnTo>
                  <a:lnTo>
                    <a:pt x="794" y="794"/>
                  </a:lnTo>
                  <a:lnTo>
                    <a:pt x="760" y="824"/>
                  </a:lnTo>
                  <a:lnTo>
                    <a:pt x="724" y="852"/>
                  </a:lnTo>
                  <a:lnTo>
                    <a:pt x="686" y="874"/>
                  </a:lnTo>
                  <a:lnTo>
                    <a:pt x="646" y="894"/>
                  </a:lnTo>
                  <a:lnTo>
                    <a:pt x="604" y="910"/>
                  </a:lnTo>
                  <a:lnTo>
                    <a:pt x="558" y="920"/>
                  </a:lnTo>
                  <a:lnTo>
                    <a:pt x="512" y="928"/>
                  </a:lnTo>
                  <a:lnTo>
                    <a:pt x="488" y="930"/>
                  </a:lnTo>
                  <a:lnTo>
                    <a:pt x="464" y="930"/>
                  </a:lnTo>
                  <a:lnTo>
                    <a:pt x="464" y="930"/>
                  </a:lnTo>
                  <a:lnTo>
                    <a:pt x="442" y="930"/>
                  </a:lnTo>
                  <a:lnTo>
                    <a:pt x="418" y="928"/>
                  </a:lnTo>
                  <a:lnTo>
                    <a:pt x="372" y="920"/>
                  </a:lnTo>
                  <a:lnTo>
                    <a:pt x="326" y="910"/>
                  </a:lnTo>
                  <a:lnTo>
                    <a:pt x="284" y="894"/>
                  </a:lnTo>
                  <a:lnTo>
                    <a:pt x="244" y="874"/>
                  </a:lnTo>
                  <a:lnTo>
                    <a:pt x="206" y="852"/>
                  </a:lnTo>
                  <a:lnTo>
                    <a:pt x="170" y="824"/>
                  </a:lnTo>
                  <a:lnTo>
                    <a:pt x="136" y="794"/>
                  </a:lnTo>
                  <a:lnTo>
                    <a:pt x="106" y="762"/>
                  </a:lnTo>
                  <a:lnTo>
                    <a:pt x="80" y="726"/>
                  </a:lnTo>
                  <a:lnTo>
                    <a:pt x="56" y="688"/>
                  </a:lnTo>
                  <a:lnTo>
                    <a:pt x="36" y="646"/>
                  </a:lnTo>
                  <a:lnTo>
                    <a:pt x="20" y="604"/>
                  </a:lnTo>
                  <a:lnTo>
                    <a:pt x="10" y="560"/>
                  </a:lnTo>
                  <a:lnTo>
                    <a:pt x="2" y="514"/>
                  </a:lnTo>
                  <a:lnTo>
                    <a:pt x="0" y="490"/>
                  </a:lnTo>
                  <a:lnTo>
                    <a:pt x="0" y="466"/>
                  </a:lnTo>
                  <a:lnTo>
                    <a:pt x="0" y="466"/>
                  </a:lnTo>
                  <a:close/>
                </a:path>
              </a:pathLst>
            </a:custGeom>
            <a:solidFill>
              <a:srgbClr val="00607A"/>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5" name="Freeform 26"/>
            <p:cNvSpPr>
              <a:spLocks/>
            </p:cNvSpPr>
            <p:nvPr/>
          </p:nvSpPr>
          <p:spPr bwMode="auto">
            <a:xfrm>
              <a:off x="12938991" y="3310221"/>
              <a:ext cx="1476375" cy="1476375"/>
            </a:xfrm>
            <a:custGeom>
              <a:avLst/>
              <a:gdLst>
                <a:gd name="T0" fmla="*/ 0 w 930"/>
                <a:gd name="T1" fmla="*/ 466 h 930"/>
                <a:gd name="T2" fmla="*/ 2 w 930"/>
                <a:gd name="T3" fmla="*/ 418 h 930"/>
                <a:gd name="T4" fmla="*/ 20 w 930"/>
                <a:gd name="T5" fmla="*/ 328 h 930"/>
                <a:gd name="T6" fmla="*/ 56 w 930"/>
                <a:gd name="T7" fmla="*/ 244 h 930"/>
                <a:gd name="T8" fmla="*/ 106 w 930"/>
                <a:gd name="T9" fmla="*/ 170 h 930"/>
                <a:gd name="T10" fmla="*/ 170 w 930"/>
                <a:gd name="T11" fmla="*/ 106 h 930"/>
                <a:gd name="T12" fmla="*/ 244 w 930"/>
                <a:gd name="T13" fmla="*/ 56 h 930"/>
                <a:gd name="T14" fmla="*/ 326 w 930"/>
                <a:gd name="T15" fmla="*/ 22 h 930"/>
                <a:gd name="T16" fmla="*/ 418 w 930"/>
                <a:gd name="T17" fmla="*/ 4 h 930"/>
                <a:gd name="T18" fmla="*/ 464 w 930"/>
                <a:gd name="T19" fmla="*/ 0 h 930"/>
                <a:gd name="T20" fmla="*/ 488 w 930"/>
                <a:gd name="T21" fmla="*/ 2 h 930"/>
                <a:gd name="T22" fmla="*/ 558 w 930"/>
                <a:gd name="T23" fmla="*/ 10 h 930"/>
                <a:gd name="T24" fmla="*/ 646 w 930"/>
                <a:gd name="T25" fmla="*/ 38 h 930"/>
                <a:gd name="T26" fmla="*/ 724 w 930"/>
                <a:gd name="T27" fmla="*/ 80 h 930"/>
                <a:gd name="T28" fmla="*/ 794 w 930"/>
                <a:gd name="T29" fmla="*/ 136 h 930"/>
                <a:gd name="T30" fmla="*/ 850 w 930"/>
                <a:gd name="T31" fmla="*/ 206 h 930"/>
                <a:gd name="T32" fmla="*/ 894 w 930"/>
                <a:gd name="T33" fmla="*/ 284 h 930"/>
                <a:gd name="T34" fmla="*/ 920 w 930"/>
                <a:gd name="T35" fmla="*/ 372 h 930"/>
                <a:gd name="T36" fmla="*/ 930 w 930"/>
                <a:gd name="T37" fmla="*/ 442 h 930"/>
                <a:gd name="T38" fmla="*/ 930 w 930"/>
                <a:gd name="T39" fmla="*/ 466 h 930"/>
                <a:gd name="T40" fmla="*/ 930 w 930"/>
                <a:gd name="T41" fmla="*/ 490 h 930"/>
                <a:gd name="T42" fmla="*/ 920 w 930"/>
                <a:gd name="T43" fmla="*/ 560 h 930"/>
                <a:gd name="T44" fmla="*/ 894 w 930"/>
                <a:gd name="T45" fmla="*/ 646 h 930"/>
                <a:gd name="T46" fmla="*/ 850 w 930"/>
                <a:gd name="T47" fmla="*/ 726 h 930"/>
                <a:gd name="T48" fmla="*/ 794 w 930"/>
                <a:gd name="T49" fmla="*/ 794 h 930"/>
                <a:gd name="T50" fmla="*/ 724 w 930"/>
                <a:gd name="T51" fmla="*/ 852 h 930"/>
                <a:gd name="T52" fmla="*/ 646 w 930"/>
                <a:gd name="T53" fmla="*/ 894 h 930"/>
                <a:gd name="T54" fmla="*/ 558 w 930"/>
                <a:gd name="T55" fmla="*/ 920 h 930"/>
                <a:gd name="T56" fmla="*/ 488 w 930"/>
                <a:gd name="T57" fmla="*/ 930 h 930"/>
                <a:gd name="T58" fmla="*/ 464 w 930"/>
                <a:gd name="T59" fmla="*/ 930 h 930"/>
                <a:gd name="T60" fmla="*/ 418 w 930"/>
                <a:gd name="T61" fmla="*/ 928 h 930"/>
                <a:gd name="T62" fmla="*/ 326 w 930"/>
                <a:gd name="T63" fmla="*/ 910 h 930"/>
                <a:gd name="T64" fmla="*/ 244 w 930"/>
                <a:gd name="T65" fmla="*/ 874 h 930"/>
                <a:gd name="T66" fmla="*/ 170 w 930"/>
                <a:gd name="T67" fmla="*/ 824 h 930"/>
                <a:gd name="T68" fmla="*/ 106 w 930"/>
                <a:gd name="T69" fmla="*/ 762 h 930"/>
                <a:gd name="T70" fmla="*/ 56 w 930"/>
                <a:gd name="T71" fmla="*/ 688 h 930"/>
                <a:gd name="T72" fmla="*/ 20 w 930"/>
                <a:gd name="T73" fmla="*/ 604 h 930"/>
                <a:gd name="T74" fmla="*/ 2 w 930"/>
                <a:gd name="T75" fmla="*/ 514 h 930"/>
                <a:gd name="T76" fmla="*/ 0 w 930"/>
                <a:gd name="T77" fmla="*/ 466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0" h="930">
                  <a:moveTo>
                    <a:pt x="0" y="466"/>
                  </a:moveTo>
                  <a:lnTo>
                    <a:pt x="0" y="466"/>
                  </a:lnTo>
                  <a:lnTo>
                    <a:pt x="0" y="442"/>
                  </a:lnTo>
                  <a:lnTo>
                    <a:pt x="2" y="418"/>
                  </a:lnTo>
                  <a:lnTo>
                    <a:pt x="10" y="372"/>
                  </a:lnTo>
                  <a:lnTo>
                    <a:pt x="20" y="328"/>
                  </a:lnTo>
                  <a:lnTo>
                    <a:pt x="36" y="284"/>
                  </a:lnTo>
                  <a:lnTo>
                    <a:pt x="56" y="244"/>
                  </a:lnTo>
                  <a:lnTo>
                    <a:pt x="80" y="206"/>
                  </a:lnTo>
                  <a:lnTo>
                    <a:pt x="106" y="170"/>
                  </a:lnTo>
                  <a:lnTo>
                    <a:pt x="136" y="136"/>
                  </a:lnTo>
                  <a:lnTo>
                    <a:pt x="170" y="106"/>
                  </a:lnTo>
                  <a:lnTo>
                    <a:pt x="204" y="80"/>
                  </a:lnTo>
                  <a:lnTo>
                    <a:pt x="244" y="56"/>
                  </a:lnTo>
                  <a:lnTo>
                    <a:pt x="284" y="38"/>
                  </a:lnTo>
                  <a:lnTo>
                    <a:pt x="326" y="22"/>
                  </a:lnTo>
                  <a:lnTo>
                    <a:pt x="372" y="10"/>
                  </a:lnTo>
                  <a:lnTo>
                    <a:pt x="418" y="4"/>
                  </a:lnTo>
                  <a:lnTo>
                    <a:pt x="440" y="2"/>
                  </a:lnTo>
                  <a:lnTo>
                    <a:pt x="464" y="0"/>
                  </a:lnTo>
                  <a:lnTo>
                    <a:pt x="464" y="0"/>
                  </a:lnTo>
                  <a:lnTo>
                    <a:pt x="488" y="2"/>
                  </a:lnTo>
                  <a:lnTo>
                    <a:pt x="512" y="4"/>
                  </a:lnTo>
                  <a:lnTo>
                    <a:pt x="558" y="10"/>
                  </a:lnTo>
                  <a:lnTo>
                    <a:pt x="604" y="22"/>
                  </a:lnTo>
                  <a:lnTo>
                    <a:pt x="646" y="38"/>
                  </a:lnTo>
                  <a:lnTo>
                    <a:pt x="686" y="56"/>
                  </a:lnTo>
                  <a:lnTo>
                    <a:pt x="724" y="80"/>
                  </a:lnTo>
                  <a:lnTo>
                    <a:pt x="760" y="106"/>
                  </a:lnTo>
                  <a:lnTo>
                    <a:pt x="794" y="136"/>
                  </a:lnTo>
                  <a:lnTo>
                    <a:pt x="824" y="170"/>
                  </a:lnTo>
                  <a:lnTo>
                    <a:pt x="850" y="206"/>
                  </a:lnTo>
                  <a:lnTo>
                    <a:pt x="874" y="244"/>
                  </a:lnTo>
                  <a:lnTo>
                    <a:pt x="894" y="284"/>
                  </a:lnTo>
                  <a:lnTo>
                    <a:pt x="908" y="328"/>
                  </a:lnTo>
                  <a:lnTo>
                    <a:pt x="920" y="372"/>
                  </a:lnTo>
                  <a:lnTo>
                    <a:pt x="928" y="418"/>
                  </a:lnTo>
                  <a:lnTo>
                    <a:pt x="930" y="442"/>
                  </a:lnTo>
                  <a:lnTo>
                    <a:pt x="930" y="466"/>
                  </a:lnTo>
                  <a:lnTo>
                    <a:pt x="930" y="466"/>
                  </a:lnTo>
                  <a:lnTo>
                    <a:pt x="930" y="466"/>
                  </a:lnTo>
                  <a:lnTo>
                    <a:pt x="930" y="490"/>
                  </a:lnTo>
                  <a:lnTo>
                    <a:pt x="928" y="514"/>
                  </a:lnTo>
                  <a:lnTo>
                    <a:pt x="920" y="560"/>
                  </a:lnTo>
                  <a:lnTo>
                    <a:pt x="908" y="604"/>
                  </a:lnTo>
                  <a:lnTo>
                    <a:pt x="894" y="646"/>
                  </a:lnTo>
                  <a:lnTo>
                    <a:pt x="874" y="688"/>
                  </a:lnTo>
                  <a:lnTo>
                    <a:pt x="850" y="726"/>
                  </a:lnTo>
                  <a:lnTo>
                    <a:pt x="824" y="762"/>
                  </a:lnTo>
                  <a:lnTo>
                    <a:pt x="794" y="794"/>
                  </a:lnTo>
                  <a:lnTo>
                    <a:pt x="760" y="824"/>
                  </a:lnTo>
                  <a:lnTo>
                    <a:pt x="724" y="852"/>
                  </a:lnTo>
                  <a:lnTo>
                    <a:pt x="686" y="874"/>
                  </a:lnTo>
                  <a:lnTo>
                    <a:pt x="646" y="894"/>
                  </a:lnTo>
                  <a:lnTo>
                    <a:pt x="604" y="910"/>
                  </a:lnTo>
                  <a:lnTo>
                    <a:pt x="558" y="920"/>
                  </a:lnTo>
                  <a:lnTo>
                    <a:pt x="512" y="928"/>
                  </a:lnTo>
                  <a:lnTo>
                    <a:pt x="488" y="930"/>
                  </a:lnTo>
                  <a:lnTo>
                    <a:pt x="464" y="930"/>
                  </a:lnTo>
                  <a:lnTo>
                    <a:pt x="464" y="930"/>
                  </a:lnTo>
                  <a:lnTo>
                    <a:pt x="442" y="930"/>
                  </a:lnTo>
                  <a:lnTo>
                    <a:pt x="418" y="928"/>
                  </a:lnTo>
                  <a:lnTo>
                    <a:pt x="372" y="920"/>
                  </a:lnTo>
                  <a:lnTo>
                    <a:pt x="326" y="910"/>
                  </a:lnTo>
                  <a:lnTo>
                    <a:pt x="284" y="894"/>
                  </a:lnTo>
                  <a:lnTo>
                    <a:pt x="244" y="874"/>
                  </a:lnTo>
                  <a:lnTo>
                    <a:pt x="206" y="852"/>
                  </a:lnTo>
                  <a:lnTo>
                    <a:pt x="170" y="824"/>
                  </a:lnTo>
                  <a:lnTo>
                    <a:pt x="136" y="794"/>
                  </a:lnTo>
                  <a:lnTo>
                    <a:pt x="106" y="762"/>
                  </a:lnTo>
                  <a:lnTo>
                    <a:pt x="80" y="726"/>
                  </a:lnTo>
                  <a:lnTo>
                    <a:pt x="56" y="688"/>
                  </a:lnTo>
                  <a:lnTo>
                    <a:pt x="36" y="646"/>
                  </a:lnTo>
                  <a:lnTo>
                    <a:pt x="20" y="604"/>
                  </a:lnTo>
                  <a:lnTo>
                    <a:pt x="10" y="560"/>
                  </a:lnTo>
                  <a:lnTo>
                    <a:pt x="2" y="514"/>
                  </a:lnTo>
                  <a:lnTo>
                    <a:pt x="0" y="490"/>
                  </a:lnTo>
                  <a:lnTo>
                    <a:pt x="0" y="466"/>
                  </a:lnTo>
                  <a:lnTo>
                    <a:pt x="0" y="466"/>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6" name="Freeform 27"/>
            <p:cNvSpPr>
              <a:spLocks noEditPoints="1"/>
            </p:cNvSpPr>
            <p:nvPr/>
          </p:nvSpPr>
          <p:spPr bwMode="auto">
            <a:xfrm>
              <a:off x="12999316" y="3395946"/>
              <a:ext cx="1355725" cy="1352550"/>
            </a:xfrm>
            <a:custGeom>
              <a:avLst/>
              <a:gdLst>
                <a:gd name="T0" fmla="*/ 196 w 854"/>
                <a:gd name="T1" fmla="*/ 746 h 852"/>
                <a:gd name="T2" fmla="*/ 202 w 854"/>
                <a:gd name="T3" fmla="*/ 782 h 852"/>
                <a:gd name="T4" fmla="*/ 288 w 854"/>
                <a:gd name="T5" fmla="*/ 818 h 852"/>
                <a:gd name="T6" fmla="*/ 422 w 854"/>
                <a:gd name="T7" fmla="*/ 852 h 852"/>
                <a:gd name="T8" fmla="*/ 490 w 854"/>
                <a:gd name="T9" fmla="*/ 838 h 852"/>
                <a:gd name="T10" fmla="*/ 450 w 854"/>
                <a:gd name="T11" fmla="*/ 790 h 852"/>
                <a:gd name="T12" fmla="*/ 332 w 854"/>
                <a:gd name="T13" fmla="*/ 738 h 852"/>
                <a:gd name="T14" fmla="*/ 638 w 854"/>
                <a:gd name="T15" fmla="*/ 738 h 852"/>
                <a:gd name="T16" fmla="*/ 650 w 854"/>
                <a:gd name="T17" fmla="*/ 758 h 852"/>
                <a:gd name="T18" fmla="*/ 666 w 854"/>
                <a:gd name="T19" fmla="*/ 732 h 852"/>
                <a:gd name="T20" fmla="*/ 696 w 854"/>
                <a:gd name="T21" fmla="*/ 540 h 852"/>
                <a:gd name="T22" fmla="*/ 664 w 854"/>
                <a:gd name="T23" fmla="*/ 582 h 852"/>
                <a:gd name="T24" fmla="*/ 622 w 854"/>
                <a:gd name="T25" fmla="*/ 594 h 852"/>
                <a:gd name="T26" fmla="*/ 600 w 854"/>
                <a:gd name="T27" fmla="*/ 560 h 852"/>
                <a:gd name="T28" fmla="*/ 582 w 854"/>
                <a:gd name="T29" fmla="*/ 542 h 852"/>
                <a:gd name="T30" fmla="*/ 530 w 854"/>
                <a:gd name="T31" fmla="*/ 584 h 852"/>
                <a:gd name="T32" fmla="*/ 498 w 854"/>
                <a:gd name="T33" fmla="*/ 584 h 852"/>
                <a:gd name="T34" fmla="*/ 464 w 854"/>
                <a:gd name="T35" fmla="*/ 632 h 852"/>
                <a:gd name="T36" fmla="*/ 480 w 854"/>
                <a:gd name="T37" fmla="*/ 688 h 852"/>
                <a:gd name="T38" fmla="*/ 546 w 854"/>
                <a:gd name="T39" fmla="*/ 684 h 852"/>
                <a:gd name="T40" fmla="*/ 598 w 854"/>
                <a:gd name="T41" fmla="*/ 676 h 852"/>
                <a:gd name="T42" fmla="*/ 640 w 854"/>
                <a:gd name="T43" fmla="*/ 700 h 852"/>
                <a:gd name="T44" fmla="*/ 692 w 854"/>
                <a:gd name="T45" fmla="*/ 682 h 852"/>
                <a:gd name="T46" fmla="*/ 712 w 854"/>
                <a:gd name="T47" fmla="*/ 602 h 852"/>
                <a:gd name="T48" fmla="*/ 704 w 854"/>
                <a:gd name="T49" fmla="*/ 538 h 852"/>
                <a:gd name="T50" fmla="*/ 718 w 854"/>
                <a:gd name="T51" fmla="*/ 220 h 852"/>
                <a:gd name="T52" fmla="*/ 714 w 854"/>
                <a:gd name="T53" fmla="*/ 246 h 852"/>
                <a:gd name="T54" fmla="*/ 758 w 854"/>
                <a:gd name="T55" fmla="*/ 266 h 852"/>
                <a:gd name="T56" fmla="*/ 780 w 854"/>
                <a:gd name="T57" fmla="*/ 346 h 852"/>
                <a:gd name="T58" fmla="*/ 792 w 854"/>
                <a:gd name="T59" fmla="*/ 404 h 852"/>
                <a:gd name="T60" fmla="*/ 836 w 854"/>
                <a:gd name="T61" fmla="*/ 398 h 852"/>
                <a:gd name="T62" fmla="*/ 854 w 854"/>
                <a:gd name="T63" fmla="*/ 342 h 852"/>
                <a:gd name="T64" fmla="*/ 792 w 854"/>
                <a:gd name="T65" fmla="*/ 238 h 852"/>
                <a:gd name="T66" fmla="*/ 740 w 854"/>
                <a:gd name="T67" fmla="*/ 212 h 852"/>
                <a:gd name="T68" fmla="*/ 66 w 854"/>
                <a:gd name="T69" fmla="*/ 174 h 852"/>
                <a:gd name="T70" fmla="*/ 16 w 854"/>
                <a:gd name="T71" fmla="*/ 260 h 852"/>
                <a:gd name="T72" fmla="*/ 2 w 854"/>
                <a:gd name="T73" fmla="*/ 452 h 852"/>
                <a:gd name="T74" fmla="*/ 18 w 854"/>
                <a:gd name="T75" fmla="*/ 510 h 852"/>
                <a:gd name="T76" fmla="*/ 78 w 854"/>
                <a:gd name="T77" fmla="*/ 514 h 852"/>
                <a:gd name="T78" fmla="*/ 114 w 854"/>
                <a:gd name="T79" fmla="*/ 466 h 852"/>
                <a:gd name="T80" fmla="*/ 96 w 854"/>
                <a:gd name="T81" fmla="*/ 370 h 852"/>
                <a:gd name="T82" fmla="*/ 130 w 854"/>
                <a:gd name="T83" fmla="*/ 228 h 852"/>
                <a:gd name="T84" fmla="*/ 146 w 854"/>
                <a:gd name="T85" fmla="*/ 148 h 852"/>
                <a:gd name="T86" fmla="*/ 432 w 854"/>
                <a:gd name="T87" fmla="*/ 2 h 852"/>
                <a:gd name="T88" fmla="*/ 290 w 854"/>
                <a:gd name="T89" fmla="*/ 36 h 852"/>
                <a:gd name="T90" fmla="*/ 236 w 854"/>
                <a:gd name="T91" fmla="*/ 120 h 852"/>
                <a:gd name="T92" fmla="*/ 272 w 854"/>
                <a:gd name="T93" fmla="*/ 162 h 852"/>
                <a:gd name="T94" fmla="*/ 330 w 854"/>
                <a:gd name="T95" fmla="*/ 208 h 852"/>
                <a:gd name="T96" fmla="*/ 322 w 854"/>
                <a:gd name="T97" fmla="*/ 262 h 852"/>
                <a:gd name="T98" fmla="*/ 286 w 854"/>
                <a:gd name="T99" fmla="*/ 322 h 852"/>
                <a:gd name="T100" fmla="*/ 302 w 854"/>
                <a:gd name="T101" fmla="*/ 404 h 852"/>
                <a:gd name="T102" fmla="*/ 396 w 854"/>
                <a:gd name="T103" fmla="*/ 492 h 852"/>
                <a:gd name="T104" fmla="*/ 468 w 854"/>
                <a:gd name="T105" fmla="*/ 508 h 852"/>
                <a:gd name="T106" fmla="*/ 478 w 854"/>
                <a:gd name="T107" fmla="*/ 474 h 852"/>
                <a:gd name="T108" fmla="*/ 398 w 854"/>
                <a:gd name="T109" fmla="*/ 452 h 852"/>
                <a:gd name="T110" fmla="*/ 400 w 854"/>
                <a:gd name="T111" fmla="*/ 358 h 852"/>
                <a:gd name="T112" fmla="*/ 442 w 854"/>
                <a:gd name="T113" fmla="*/ 292 h 852"/>
                <a:gd name="T114" fmla="*/ 488 w 854"/>
                <a:gd name="T115" fmla="*/ 224 h 852"/>
                <a:gd name="T116" fmla="*/ 526 w 854"/>
                <a:gd name="T117" fmla="*/ 142 h 852"/>
                <a:gd name="T118" fmla="*/ 572 w 854"/>
                <a:gd name="T119" fmla="*/ 130 h 852"/>
                <a:gd name="T120" fmla="*/ 680 w 854"/>
                <a:gd name="T121" fmla="*/ 138 h 852"/>
                <a:gd name="T122" fmla="*/ 702 w 854"/>
                <a:gd name="T123" fmla="*/ 110 h 852"/>
                <a:gd name="T124" fmla="*/ 582 w 854"/>
                <a:gd name="T125" fmla="*/ 28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4" h="852">
                  <a:moveTo>
                    <a:pt x="332" y="738"/>
                  </a:moveTo>
                  <a:lnTo>
                    <a:pt x="332" y="738"/>
                  </a:lnTo>
                  <a:lnTo>
                    <a:pt x="298" y="738"/>
                  </a:lnTo>
                  <a:lnTo>
                    <a:pt x="264" y="742"/>
                  </a:lnTo>
                  <a:lnTo>
                    <a:pt x="230" y="744"/>
                  </a:lnTo>
                  <a:lnTo>
                    <a:pt x="196" y="746"/>
                  </a:lnTo>
                  <a:lnTo>
                    <a:pt x="196" y="746"/>
                  </a:lnTo>
                  <a:lnTo>
                    <a:pt x="194" y="752"/>
                  </a:lnTo>
                  <a:lnTo>
                    <a:pt x="194" y="760"/>
                  </a:lnTo>
                  <a:lnTo>
                    <a:pt x="198" y="774"/>
                  </a:lnTo>
                  <a:lnTo>
                    <a:pt x="198" y="774"/>
                  </a:lnTo>
                  <a:lnTo>
                    <a:pt x="202" y="782"/>
                  </a:lnTo>
                  <a:lnTo>
                    <a:pt x="208" y="790"/>
                  </a:lnTo>
                  <a:lnTo>
                    <a:pt x="214" y="796"/>
                  </a:lnTo>
                  <a:lnTo>
                    <a:pt x="220" y="800"/>
                  </a:lnTo>
                  <a:lnTo>
                    <a:pt x="236" y="808"/>
                  </a:lnTo>
                  <a:lnTo>
                    <a:pt x="252" y="812"/>
                  </a:lnTo>
                  <a:lnTo>
                    <a:pt x="288" y="818"/>
                  </a:lnTo>
                  <a:lnTo>
                    <a:pt x="304" y="822"/>
                  </a:lnTo>
                  <a:lnTo>
                    <a:pt x="322" y="826"/>
                  </a:lnTo>
                  <a:lnTo>
                    <a:pt x="322" y="826"/>
                  </a:lnTo>
                  <a:lnTo>
                    <a:pt x="378" y="842"/>
                  </a:lnTo>
                  <a:lnTo>
                    <a:pt x="408" y="850"/>
                  </a:lnTo>
                  <a:lnTo>
                    <a:pt x="422" y="852"/>
                  </a:lnTo>
                  <a:lnTo>
                    <a:pt x="438" y="852"/>
                  </a:lnTo>
                  <a:lnTo>
                    <a:pt x="438" y="852"/>
                  </a:lnTo>
                  <a:lnTo>
                    <a:pt x="452" y="852"/>
                  </a:lnTo>
                  <a:lnTo>
                    <a:pt x="464" y="850"/>
                  </a:lnTo>
                  <a:lnTo>
                    <a:pt x="478" y="844"/>
                  </a:lnTo>
                  <a:lnTo>
                    <a:pt x="490" y="838"/>
                  </a:lnTo>
                  <a:lnTo>
                    <a:pt x="490" y="838"/>
                  </a:lnTo>
                  <a:lnTo>
                    <a:pt x="490" y="830"/>
                  </a:lnTo>
                  <a:lnTo>
                    <a:pt x="486" y="824"/>
                  </a:lnTo>
                  <a:lnTo>
                    <a:pt x="478" y="812"/>
                  </a:lnTo>
                  <a:lnTo>
                    <a:pt x="466" y="800"/>
                  </a:lnTo>
                  <a:lnTo>
                    <a:pt x="450" y="790"/>
                  </a:lnTo>
                  <a:lnTo>
                    <a:pt x="418" y="768"/>
                  </a:lnTo>
                  <a:lnTo>
                    <a:pt x="404" y="756"/>
                  </a:lnTo>
                  <a:lnTo>
                    <a:pt x="392" y="744"/>
                  </a:lnTo>
                  <a:lnTo>
                    <a:pt x="392" y="744"/>
                  </a:lnTo>
                  <a:lnTo>
                    <a:pt x="362" y="738"/>
                  </a:lnTo>
                  <a:lnTo>
                    <a:pt x="332" y="738"/>
                  </a:lnTo>
                  <a:close/>
                  <a:moveTo>
                    <a:pt x="656" y="724"/>
                  </a:moveTo>
                  <a:lnTo>
                    <a:pt x="656" y="724"/>
                  </a:lnTo>
                  <a:lnTo>
                    <a:pt x="650" y="724"/>
                  </a:lnTo>
                  <a:lnTo>
                    <a:pt x="644" y="728"/>
                  </a:lnTo>
                  <a:lnTo>
                    <a:pt x="640" y="732"/>
                  </a:lnTo>
                  <a:lnTo>
                    <a:pt x="638" y="738"/>
                  </a:lnTo>
                  <a:lnTo>
                    <a:pt x="638" y="738"/>
                  </a:lnTo>
                  <a:lnTo>
                    <a:pt x="640" y="746"/>
                  </a:lnTo>
                  <a:lnTo>
                    <a:pt x="642" y="752"/>
                  </a:lnTo>
                  <a:lnTo>
                    <a:pt x="646" y="756"/>
                  </a:lnTo>
                  <a:lnTo>
                    <a:pt x="650" y="758"/>
                  </a:lnTo>
                  <a:lnTo>
                    <a:pt x="650" y="758"/>
                  </a:lnTo>
                  <a:lnTo>
                    <a:pt x="654" y="756"/>
                  </a:lnTo>
                  <a:lnTo>
                    <a:pt x="658" y="752"/>
                  </a:lnTo>
                  <a:lnTo>
                    <a:pt x="660" y="748"/>
                  </a:lnTo>
                  <a:lnTo>
                    <a:pt x="664" y="740"/>
                  </a:lnTo>
                  <a:lnTo>
                    <a:pt x="664" y="740"/>
                  </a:lnTo>
                  <a:lnTo>
                    <a:pt x="666" y="732"/>
                  </a:lnTo>
                  <a:lnTo>
                    <a:pt x="664" y="728"/>
                  </a:lnTo>
                  <a:lnTo>
                    <a:pt x="660" y="724"/>
                  </a:lnTo>
                  <a:lnTo>
                    <a:pt x="656" y="724"/>
                  </a:lnTo>
                  <a:close/>
                  <a:moveTo>
                    <a:pt x="700" y="536"/>
                  </a:moveTo>
                  <a:lnTo>
                    <a:pt x="700" y="536"/>
                  </a:lnTo>
                  <a:lnTo>
                    <a:pt x="696" y="540"/>
                  </a:lnTo>
                  <a:lnTo>
                    <a:pt x="690" y="548"/>
                  </a:lnTo>
                  <a:lnTo>
                    <a:pt x="690" y="548"/>
                  </a:lnTo>
                  <a:lnTo>
                    <a:pt x="686" y="558"/>
                  </a:lnTo>
                  <a:lnTo>
                    <a:pt x="680" y="568"/>
                  </a:lnTo>
                  <a:lnTo>
                    <a:pt x="672" y="576"/>
                  </a:lnTo>
                  <a:lnTo>
                    <a:pt x="664" y="582"/>
                  </a:lnTo>
                  <a:lnTo>
                    <a:pt x="656" y="588"/>
                  </a:lnTo>
                  <a:lnTo>
                    <a:pt x="646" y="592"/>
                  </a:lnTo>
                  <a:lnTo>
                    <a:pt x="638" y="594"/>
                  </a:lnTo>
                  <a:lnTo>
                    <a:pt x="628" y="594"/>
                  </a:lnTo>
                  <a:lnTo>
                    <a:pt x="628" y="594"/>
                  </a:lnTo>
                  <a:lnTo>
                    <a:pt x="622" y="594"/>
                  </a:lnTo>
                  <a:lnTo>
                    <a:pt x="616" y="592"/>
                  </a:lnTo>
                  <a:lnTo>
                    <a:pt x="610" y="588"/>
                  </a:lnTo>
                  <a:lnTo>
                    <a:pt x="604" y="584"/>
                  </a:lnTo>
                  <a:lnTo>
                    <a:pt x="602" y="578"/>
                  </a:lnTo>
                  <a:lnTo>
                    <a:pt x="600" y="570"/>
                  </a:lnTo>
                  <a:lnTo>
                    <a:pt x="600" y="560"/>
                  </a:lnTo>
                  <a:lnTo>
                    <a:pt x="602" y="548"/>
                  </a:lnTo>
                  <a:lnTo>
                    <a:pt x="602" y="548"/>
                  </a:lnTo>
                  <a:lnTo>
                    <a:pt x="596" y="542"/>
                  </a:lnTo>
                  <a:lnTo>
                    <a:pt x="590" y="540"/>
                  </a:lnTo>
                  <a:lnTo>
                    <a:pt x="590" y="540"/>
                  </a:lnTo>
                  <a:lnTo>
                    <a:pt x="582" y="542"/>
                  </a:lnTo>
                  <a:lnTo>
                    <a:pt x="576" y="546"/>
                  </a:lnTo>
                  <a:lnTo>
                    <a:pt x="558" y="562"/>
                  </a:lnTo>
                  <a:lnTo>
                    <a:pt x="558" y="562"/>
                  </a:lnTo>
                  <a:lnTo>
                    <a:pt x="550" y="570"/>
                  </a:lnTo>
                  <a:lnTo>
                    <a:pt x="540" y="578"/>
                  </a:lnTo>
                  <a:lnTo>
                    <a:pt x="530" y="584"/>
                  </a:lnTo>
                  <a:lnTo>
                    <a:pt x="520" y="584"/>
                  </a:lnTo>
                  <a:lnTo>
                    <a:pt x="520" y="584"/>
                  </a:lnTo>
                  <a:lnTo>
                    <a:pt x="514" y="584"/>
                  </a:lnTo>
                  <a:lnTo>
                    <a:pt x="508" y="582"/>
                  </a:lnTo>
                  <a:lnTo>
                    <a:pt x="508" y="582"/>
                  </a:lnTo>
                  <a:lnTo>
                    <a:pt x="498" y="584"/>
                  </a:lnTo>
                  <a:lnTo>
                    <a:pt x="488" y="588"/>
                  </a:lnTo>
                  <a:lnTo>
                    <a:pt x="480" y="596"/>
                  </a:lnTo>
                  <a:lnTo>
                    <a:pt x="474" y="602"/>
                  </a:lnTo>
                  <a:lnTo>
                    <a:pt x="468" y="612"/>
                  </a:lnTo>
                  <a:lnTo>
                    <a:pt x="466" y="622"/>
                  </a:lnTo>
                  <a:lnTo>
                    <a:pt x="464" y="632"/>
                  </a:lnTo>
                  <a:lnTo>
                    <a:pt x="462" y="642"/>
                  </a:lnTo>
                  <a:lnTo>
                    <a:pt x="464" y="652"/>
                  </a:lnTo>
                  <a:lnTo>
                    <a:pt x="466" y="662"/>
                  </a:lnTo>
                  <a:lnTo>
                    <a:pt x="470" y="672"/>
                  </a:lnTo>
                  <a:lnTo>
                    <a:pt x="474" y="680"/>
                  </a:lnTo>
                  <a:lnTo>
                    <a:pt x="480" y="688"/>
                  </a:lnTo>
                  <a:lnTo>
                    <a:pt x="488" y="694"/>
                  </a:lnTo>
                  <a:lnTo>
                    <a:pt x="498" y="698"/>
                  </a:lnTo>
                  <a:lnTo>
                    <a:pt x="508" y="700"/>
                  </a:lnTo>
                  <a:lnTo>
                    <a:pt x="508" y="700"/>
                  </a:lnTo>
                  <a:lnTo>
                    <a:pt x="528" y="694"/>
                  </a:lnTo>
                  <a:lnTo>
                    <a:pt x="546" y="684"/>
                  </a:lnTo>
                  <a:lnTo>
                    <a:pt x="564" y="676"/>
                  </a:lnTo>
                  <a:lnTo>
                    <a:pt x="572" y="674"/>
                  </a:lnTo>
                  <a:lnTo>
                    <a:pt x="582" y="674"/>
                  </a:lnTo>
                  <a:lnTo>
                    <a:pt x="582" y="674"/>
                  </a:lnTo>
                  <a:lnTo>
                    <a:pt x="590" y="674"/>
                  </a:lnTo>
                  <a:lnTo>
                    <a:pt x="598" y="676"/>
                  </a:lnTo>
                  <a:lnTo>
                    <a:pt x="606" y="682"/>
                  </a:lnTo>
                  <a:lnTo>
                    <a:pt x="614" y="688"/>
                  </a:lnTo>
                  <a:lnTo>
                    <a:pt x="614" y="688"/>
                  </a:lnTo>
                  <a:lnTo>
                    <a:pt x="622" y="694"/>
                  </a:lnTo>
                  <a:lnTo>
                    <a:pt x="630" y="698"/>
                  </a:lnTo>
                  <a:lnTo>
                    <a:pt x="640" y="700"/>
                  </a:lnTo>
                  <a:lnTo>
                    <a:pt x="648" y="702"/>
                  </a:lnTo>
                  <a:lnTo>
                    <a:pt x="648" y="702"/>
                  </a:lnTo>
                  <a:lnTo>
                    <a:pt x="656" y="700"/>
                  </a:lnTo>
                  <a:lnTo>
                    <a:pt x="664" y="700"/>
                  </a:lnTo>
                  <a:lnTo>
                    <a:pt x="678" y="692"/>
                  </a:lnTo>
                  <a:lnTo>
                    <a:pt x="692" y="682"/>
                  </a:lnTo>
                  <a:lnTo>
                    <a:pt x="702" y="668"/>
                  </a:lnTo>
                  <a:lnTo>
                    <a:pt x="710" y="652"/>
                  </a:lnTo>
                  <a:lnTo>
                    <a:pt x="714" y="636"/>
                  </a:lnTo>
                  <a:lnTo>
                    <a:pt x="716" y="620"/>
                  </a:lnTo>
                  <a:lnTo>
                    <a:pt x="714" y="610"/>
                  </a:lnTo>
                  <a:lnTo>
                    <a:pt x="712" y="602"/>
                  </a:lnTo>
                  <a:lnTo>
                    <a:pt x="712" y="602"/>
                  </a:lnTo>
                  <a:lnTo>
                    <a:pt x="710" y="596"/>
                  </a:lnTo>
                  <a:lnTo>
                    <a:pt x="708" y="586"/>
                  </a:lnTo>
                  <a:lnTo>
                    <a:pt x="706" y="564"/>
                  </a:lnTo>
                  <a:lnTo>
                    <a:pt x="706" y="544"/>
                  </a:lnTo>
                  <a:lnTo>
                    <a:pt x="704" y="538"/>
                  </a:lnTo>
                  <a:lnTo>
                    <a:pt x="700" y="536"/>
                  </a:lnTo>
                  <a:close/>
                  <a:moveTo>
                    <a:pt x="740" y="212"/>
                  </a:moveTo>
                  <a:lnTo>
                    <a:pt x="740" y="212"/>
                  </a:lnTo>
                  <a:lnTo>
                    <a:pt x="728" y="214"/>
                  </a:lnTo>
                  <a:lnTo>
                    <a:pt x="722" y="218"/>
                  </a:lnTo>
                  <a:lnTo>
                    <a:pt x="718" y="220"/>
                  </a:lnTo>
                  <a:lnTo>
                    <a:pt x="714" y="226"/>
                  </a:lnTo>
                  <a:lnTo>
                    <a:pt x="712" y="230"/>
                  </a:lnTo>
                  <a:lnTo>
                    <a:pt x="710" y="238"/>
                  </a:lnTo>
                  <a:lnTo>
                    <a:pt x="710" y="246"/>
                  </a:lnTo>
                  <a:lnTo>
                    <a:pt x="710" y="246"/>
                  </a:lnTo>
                  <a:lnTo>
                    <a:pt x="714" y="246"/>
                  </a:lnTo>
                  <a:lnTo>
                    <a:pt x="714" y="246"/>
                  </a:lnTo>
                  <a:lnTo>
                    <a:pt x="724" y="246"/>
                  </a:lnTo>
                  <a:lnTo>
                    <a:pt x="732" y="248"/>
                  </a:lnTo>
                  <a:lnTo>
                    <a:pt x="740" y="252"/>
                  </a:lnTo>
                  <a:lnTo>
                    <a:pt x="746" y="256"/>
                  </a:lnTo>
                  <a:lnTo>
                    <a:pt x="758" y="266"/>
                  </a:lnTo>
                  <a:lnTo>
                    <a:pt x="768" y="280"/>
                  </a:lnTo>
                  <a:lnTo>
                    <a:pt x="774" y="296"/>
                  </a:lnTo>
                  <a:lnTo>
                    <a:pt x="778" y="312"/>
                  </a:lnTo>
                  <a:lnTo>
                    <a:pt x="780" y="330"/>
                  </a:lnTo>
                  <a:lnTo>
                    <a:pt x="780" y="346"/>
                  </a:lnTo>
                  <a:lnTo>
                    <a:pt x="780" y="346"/>
                  </a:lnTo>
                  <a:lnTo>
                    <a:pt x="774" y="358"/>
                  </a:lnTo>
                  <a:lnTo>
                    <a:pt x="772" y="370"/>
                  </a:lnTo>
                  <a:lnTo>
                    <a:pt x="774" y="380"/>
                  </a:lnTo>
                  <a:lnTo>
                    <a:pt x="778" y="390"/>
                  </a:lnTo>
                  <a:lnTo>
                    <a:pt x="784" y="398"/>
                  </a:lnTo>
                  <a:lnTo>
                    <a:pt x="792" y="404"/>
                  </a:lnTo>
                  <a:lnTo>
                    <a:pt x="800" y="408"/>
                  </a:lnTo>
                  <a:lnTo>
                    <a:pt x="810" y="410"/>
                  </a:lnTo>
                  <a:lnTo>
                    <a:pt x="810" y="410"/>
                  </a:lnTo>
                  <a:lnTo>
                    <a:pt x="820" y="408"/>
                  </a:lnTo>
                  <a:lnTo>
                    <a:pt x="828" y="404"/>
                  </a:lnTo>
                  <a:lnTo>
                    <a:pt x="836" y="398"/>
                  </a:lnTo>
                  <a:lnTo>
                    <a:pt x="844" y="388"/>
                  </a:lnTo>
                  <a:lnTo>
                    <a:pt x="844" y="388"/>
                  </a:lnTo>
                  <a:lnTo>
                    <a:pt x="850" y="378"/>
                  </a:lnTo>
                  <a:lnTo>
                    <a:pt x="852" y="366"/>
                  </a:lnTo>
                  <a:lnTo>
                    <a:pt x="854" y="354"/>
                  </a:lnTo>
                  <a:lnTo>
                    <a:pt x="854" y="342"/>
                  </a:lnTo>
                  <a:lnTo>
                    <a:pt x="852" y="330"/>
                  </a:lnTo>
                  <a:lnTo>
                    <a:pt x="850" y="320"/>
                  </a:lnTo>
                  <a:lnTo>
                    <a:pt x="840" y="296"/>
                  </a:lnTo>
                  <a:lnTo>
                    <a:pt x="826" y="274"/>
                  </a:lnTo>
                  <a:lnTo>
                    <a:pt x="810" y="256"/>
                  </a:lnTo>
                  <a:lnTo>
                    <a:pt x="792" y="238"/>
                  </a:lnTo>
                  <a:lnTo>
                    <a:pt x="772" y="224"/>
                  </a:lnTo>
                  <a:lnTo>
                    <a:pt x="772" y="224"/>
                  </a:lnTo>
                  <a:lnTo>
                    <a:pt x="766" y="220"/>
                  </a:lnTo>
                  <a:lnTo>
                    <a:pt x="758" y="216"/>
                  </a:lnTo>
                  <a:lnTo>
                    <a:pt x="748" y="214"/>
                  </a:lnTo>
                  <a:lnTo>
                    <a:pt x="740" y="212"/>
                  </a:lnTo>
                  <a:close/>
                  <a:moveTo>
                    <a:pt x="128" y="146"/>
                  </a:moveTo>
                  <a:lnTo>
                    <a:pt x="128" y="146"/>
                  </a:lnTo>
                  <a:lnTo>
                    <a:pt x="110" y="148"/>
                  </a:lnTo>
                  <a:lnTo>
                    <a:pt x="94" y="154"/>
                  </a:lnTo>
                  <a:lnTo>
                    <a:pt x="80" y="164"/>
                  </a:lnTo>
                  <a:lnTo>
                    <a:pt x="66" y="174"/>
                  </a:lnTo>
                  <a:lnTo>
                    <a:pt x="54" y="188"/>
                  </a:lnTo>
                  <a:lnTo>
                    <a:pt x="44" y="204"/>
                  </a:lnTo>
                  <a:lnTo>
                    <a:pt x="36" y="220"/>
                  </a:lnTo>
                  <a:lnTo>
                    <a:pt x="28" y="234"/>
                  </a:lnTo>
                  <a:lnTo>
                    <a:pt x="28" y="234"/>
                  </a:lnTo>
                  <a:lnTo>
                    <a:pt x="16" y="260"/>
                  </a:lnTo>
                  <a:lnTo>
                    <a:pt x="8" y="286"/>
                  </a:lnTo>
                  <a:lnTo>
                    <a:pt x="4" y="314"/>
                  </a:lnTo>
                  <a:lnTo>
                    <a:pt x="2" y="340"/>
                  </a:lnTo>
                  <a:lnTo>
                    <a:pt x="0" y="368"/>
                  </a:lnTo>
                  <a:lnTo>
                    <a:pt x="2" y="396"/>
                  </a:lnTo>
                  <a:lnTo>
                    <a:pt x="2" y="452"/>
                  </a:lnTo>
                  <a:lnTo>
                    <a:pt x="2" y="452"/>
                  </a:lnTo>
                  <a:lnTo>
                    <a:pt x="0" y="466"/>
                  </a:lnTo>
                  <a:lnTo>
                    <a:pt x="0" y="480"/>
                  </a:lnTo>
                  <a:lnTo>
                    <a:pt x="4" y="490"/>
                  </a:lnTo>
                  <a:lnTo>
                    <a:pt x="10" y="502"/>
                  </a:lnTo>
                  <a:lnTo>
                    <a:pt x="18" y="510"/>
                  </a:lnTo>
                  <a:lnTo>
                    <a:pt x="30" y="516"/>
                  </a:lnTo>
                  <a:lnTo>
                    <a:pt x="40" y="520"/>
                  </a:lnTo>
                  <a:lnTo>
                    <a:pt x="52" y="520"/>
                  </a:lnTo>
                  <a:lnTo>
                    <a:pt x="52" y="520"/>
                  </a:lnTo>
                  <a:lnTo>
                    <a:pt x="66" y="520"/>
                  </a:lnTo>
                  <a:lnTo>
                    <a:pt x="78" y="514"/>
                  </a:lnTo>
                  <a:lnTo>
                    <a:pt x="88" y="504"/>
                  </a:lnTo>
                  <a:lnTo>
                    <a:pt x="98" y="490"/>
                  </a:lnTo>
                  <a:lnTo>
                    <a:pt x="98" y="490"/>
                  </a:lnTo>
                  <a:lnTo>
                    <a:pt x="104" y="482"/>
                  </a:lnTo>
                  <a:lnTo>
                    <a:pt x="110" y="474"/>
                  </a:lnTo>
                  <a:lnTo>
                    <a:pt x="114" y="466"/>
                  </a:lnTo>
                  <a:lnTo>
                    <a:pt x="116" y="458"/>
                  </a:lnTo>
                  <a:lnTo>
                    <a:pt x="118" y="440"/>
                  </a:lnTo>
                  <a:lnTo>
                    <a:pt x="116" y="424"/>
                  </a:lnTo>
                  <a:lnTo>
                    <a:pt x="110" y="406"/>
                  </a:lnTo>
                  <a:lnTo>
                    <a:pt x="104" y="388"/>
                  </a:lnTo>
                  <a:lnTo>
                    <a:pt x="96" y="370"/>
                  </a:lnTo>
                  <a:lnTo>
                    <a:pt x="90" y="352"/>
                  </a:lnTo>
                  <a:lnTo>
                    <a:pt x="90" y="352"/>
                  </a:lnTo>
                  <a:lnTo>
                    <a:pt x="104" y="302"/>
                  </a:lnTo>
                  <a:lnTo>
                    <a:pt x="110" y="276"/>
                  </a:lnTo>
                  <a:lnTo>
                    <a:pt x="120" y="252"/>
                  </a:lnTo>
                  <a:lnTo>
                    <a:pt x="130" y="228"/>
                  </a:lnTo>
                  <a:lnTo>
                    <a:pt x="142" y="206"/>
                  </a:lnTo>
                  <a:lnTo>
                    <a:pt x="156" y="184"/>
                  </a:lnTo>
                  <a:lnTo>
                    <a:pt x="174" y="164"/>
                  </a:lnTo>
                  <a:lnTo>
                    <a:pt x="174" y="164"/>
                  </a:lnTo>
                  <a:lnTo>
                    <a:pt x="156" y="154"/>
                  </a:lnTo>
                  <a:lnTo>
                    <a:pt x="146" y="148"/>
                  </a:lnTo>
                  <a:lnTo>
                    <a:pt x="136" y="146"/>
                  </a:lnTo>
                  <a:lnTo>
                    <a:pt x="136" y="146"/>
                  </a:lnTo>
                  <a:lnTo>
                    <a:pt x="128" y="146"/>
                  </a:lnTo>
                  <a:close/>
                  <a:moveTo>
                    <a:pt x="460" y="0"/>
                  </a:moveTo>
                  <a:lnTo>
                    <a:pt x="460" y="0"/>
                  </a:lnTo>
                  <a:lnTo>
                    <a:pt x="432" y="2"/>
                  </a:lnTo>
                  <a:lnTo>
                    <a:pt x="406" y="6"/>
                  </a:lnTo>
                  <a:lnTo>
                    <a:pt x="356" y="14"/>
                  </a:lnTo>
                  <a:lnTo>
                    <a:pt x="356" y="14"/>
                  </a:lnTo>
                  <a:lnTo>
                    <a:pt x="328" y="20"/>
                  </a:lnTo>
                  <a:lnTo>
                    <a:pt x="306" y="28"/>
                  </a:lnTo>
                  <a:lnTo>
                    <a:pt x="290" y="36"/>
                  </a:lnTo>
                  <a:lnTo>
                    <a:pt x="280" y="46"/>
                  </a:lnTo>
                  <a:lnTo>
                    <a:pt x="270" y="60"/>
                  </a:lnTo>
                  <a:lnTo>
                    <a:pt x="262" y="74"/>
                  </a:lnTo>
                  <a:lnTo>
                    <a:pt x="242" y="108"/>
                  </a:lnTo>
                  <a:lnTo>
                    <a:pt x="242" y="108"/>
                  </a:lnTo>
                  <a:lnTo>
                    <a:pt x="236" y="120"/>
                  </a:lnTo>
                  <a:lnTo>
                    <a:pt x="234" y="130"/>
                  </a:lnTo>
                  <a:lnTo>
                    <a:pt x="236" y="138"/>
                  </a:lnTo>
                  <a:lnTo>
                    <a:pt x="240" y="146"/>
                  </a:lnTo>
                  <a:lnTo>
                    <a:pt x="246" y="150"/>
                  </a:lnTo>
                  <a:lnTo>
                    <a:pt x="254" y="156"/>
                  </a:lnTo>
                  <a:lnTo>
                    <a:pt x="272" y="162"/>
                  </a:lnTo>
                  <a:lnTo>
                    <a:pt x="292" y="170"/>
                  </a:lnTo>
                  <a:lnTo>
                    <a:pt x="310" y="178"/>
                  </a:lnTo>
                  <a:lnTo>
                    <a:pt x="318" y="184"/>
                  </a:lnTo>
                  <a:lnTo>
                    <a:pt x="324" y="190"/>
                  </a:lnTo>
                  <a:lnTo>
                    <a:pt x="330" y="198"/>
                  </a:lnTo>
                  <a:lnTo>
                    <a:pt x="330" y="208"/>
                  </a:lnTo>
                  <a:lnTo>
                    <a:pt x="330" y="208"/>
                  </a:lnTo>
                  <a:lnTo>
                    <a:pt x="332" y="220"/>
                  </a:lnTo>
                  <a:lnTo>
                    <a:pt x="332" y="232"/>
                  </a:lnTo>
                  <a:lnTo>
                    <a:pt x="332" y="240"/>
                  </a:lnTo>
                  <a:lnTo>
                    <a:pt x="330" y="248"/>
                  </a:lnTo>
                  <a:lnTo>
                    <a:pt x="322" y="262"/>
                  </a:lnTo>
                  <a:lnTo>
                    <a:pt x="312" y="274"/>
                  </a:lnTo>
                  <a:lnTo>
                    <a:pt x="302" y="286"/>
                  </a:lnTo>
                  <a:lnTo>
                    <a:pt x="292" y="298"/>
                  </a:lnTo>
                  <a:lnTo>
                    <a:pt x="290" y="304"/>
                  </a:lnTo>
                  <a:lnTo>
                    <a:pt x="286" y="312"/>
                  </a:lnTo>
                  <a:lnTo>
                    <a:pt x="286" y="322"/>
                  </a:lnTo>
                  <a:lnTo>
                    <a:pt x="286" y="332"/>
                  </a:lnTo>
                  <a:lnTo>
                    <a:pt x="286" y="332"/>
                  </a:lnTo>
                  <a:lnTo>
                    <a:pt x="290" y="366"/>
                  </a:lnTo>
                  <a:lnTo>
                    <a:pt x="292" y="382"/>
                  </a:lnTo>
                  <a:lnTo>
                    <a:pt x="298" y="394"/>
                  </a:lnTo>
                  <a:lnTo>
                    <a:pt x="302" y="404"/>
                  </a:lnTo>
                  <a:lnTo>
                    <a:pt x="308" y="412"/>
                  </a:lnTo>
                  <a:lnTo>
                    <a:pt x="322" y="430"/>
                  </a:lnTo>
                  <a:lnTo>
                    <a:pt x="322" y="430"/>
                  </a:lnTo>
                  <a:lnTo>
                    <a:pt x="352" y="454"/>
                  </a:lnTo>
                  <a:lnTo>
                    <a:pt x="380" y="480"/>
                  </a:lnTo>
                  <a:lnTo>
                    <a:pt x="396" y="492"/>
                  </a:lnTo>
                  <a:lnTo>
                    <a:pt x="412" y="502"/>
                  </a:lnTo>
                  <a:lnTo>
                    <a:pt x="430" y="508"/>
                  </a:lnTo>
                  <a:lnTo>
                    <a:pt x="448" y="510"/>
                  </a:lnTo>
                  <a:lnTo>
                    <a:pt x="448" y="510"/>
                  </a:lnTo>
                  <a:lnTo>
                    <a:pt x="458" y="510"/>
                  </a:lnTo>
                  <a:lnTo>
                    <a:pt x="468" y="508"/>
                  </a:lnTo>
                  <a:lnTo>
                    <a:pt x="468" y="508"/>
                  </a:lnTo>
                  <a:lnTo>
                    <a:pt x="476" y="498"/>
                  </a:lnTo>
                  <a:lnTo>
                    <a:pt x="482" y="490"/>
                  </a:lnTo>
                  <a:lnTo>
                    <a:pt x="484" y="484"/>
                  </a:lnTo>
                  <a:lnTo>
                    <a:pt x="482" y="478"/>
                  </a:lnTo>
                  <a:lnTo>
                    <a:pt x="478" y="474"/>
                  </a:lnTo>
                  <a:lnTo>
                    <a:pt x="472" y="472"/>
                  </a:lnTo>
                  <a:lnTo>
                    <a:pt x="454" y="468"/>
                  </a:lnTo>
                  <a:lnTo>
                    <a:pt x="434" y="464"/>
                  </a:lnTo>
                  <a:lnTo>
                    <a:pt x="414" y="460"/>
                  </a:lnTo>
                  <a:lnTo>
                    <a:pt x="406" y="456"/>
                  </a:lnTo>
                  <a:lnTo>
                    <a:pt x="398" y="452"/>
                  </a:lnTo>
                  <a:lnTo>
                    <a:pt x="392" y="446"/>
                  </a:lnTo>
                  <a:lnTo>
                    <a:pt x="390" y="438"/>
                  </a:lnTo>
                  <a:lnTo>
                    <a:pt x="390" y="438"/>
                  </a:lnTo>
                  <a:lnTo>
                    <a:pt x="394" y="398"/>
                  </a:lnTo>
                  <a:lnTo>
                    <a:pt x="396" y="378"/>
                  </a:lnTo>
                  <a:lnTo>
                    <a:pt x="400" y="358"/>
                  </a:lnTo>
                  <a:lnTo>
                    <a:pt x="406" y="338"/>
                  </a:lnTo>
                  <a:lnTo>
                    <a:pt x="414" y="320"/>
                  </a:lnTo>
                  <a:lnTo>
                    <a:pt x="426" y="304"/>
                  </a:lnTo>
                  <a:lnTo>
                    <a:pt x="434" y="298"/>
                  </a:lnTo>
                  <a:lnTo>
                    <a:pt x="442" y="292"/>
                  </a:lnTo>
                  <a:lnTo>
                    <a:pt x="442" y="292"/>
                  </a:lnTo>
                  <a:lnTo>
                    <a:pt x="452" y="286"/>
                  </a:lnTo>
                  <a:lnTo>
                    <a:pt x="460" y="282"/>
                  </a:lnTo>
                  <a:lnTo>
                    <a:pt x="468" y="274"/>
                  </a:lnTo>
                  <a:lnTo>
                    <a:pt x="472" y="266"/>
                  </a:lnTo>
                  <a:lnTo>
                    <a:pt x="482" y="246"/>
                  </a:lnTo>
                  <a:lnTo>
                    <a:pt x="488" y="224"/>
                  </a:lnTo>
                  <a:lnTo>
                    <a:pt x="494" y="202"/>
                  </a:lnTo>
                  <a:lnTo>
                    <a:pt x="500" y="180"/>
                  </a:lnTo>
                  <a:lnTo>
                    <a:pt x="506" y="170"/>
                  </a:lnTo>
                  <a:lnTo>
                    <a:pt x="510" y="160"/>
                  </a:lnTo>
                  <a:lnTo>
                    <a:pt x="518" y="150"/>
                  </a:lnTo>
                  <a:lnTo>
                    <a:pt x="526" y="142"/>
                  </a:lnTo>
                  <a:lnTo>
                    <a:pt x="526" y="142"/>
                  </a:lnTo>
                  <a:lnTo>
                    <a:pt x="532" y="136"/>
                  </a:lnTo>
                  <a:lnTo>
                    <a:pt x="544" y="134"/>
                  </a:lnTo>
                  <a:lnTo>
                    <a:pt x="556" y="132"/>
                  </a:lnTo>
                  <a:lnTo>
                    <a:pt x="572" y="130"/>
                  </a:lnTo>
                  <a:lnTo>
                    <a:pt x="572" y="130"/>
                  </a:lnTo>
                  <a:lnTo>
                    <a:pt x="598" y="132"/>
                  </a:lnTo>
                  <a:lnTo>
                    <a:pt x="628" y="134"/>
                  </a:lnTo>
                  <a:lnTo>
                    <a:pt x="628" y="134"/>
                  </a:lnTo>
                  <a:lnTo>
                    <a:pt x="656" y="136"/>
                  </a:lnTo>
                  <a:lnTo>
                    <a:pt x="680" y="138"/>
                  </a:lnTo>
                  <a:lnTo>
                    <a:pt x="680" y="138"/>
                  </a:lnTo>
                  <a:lnTo>
                    <a:pt x="692" y="136"/>
                  </a:lnTo>
                  <a:lnTo>
                    <a:pt x="702" y="134"/>
                  </a:lnTo>
                  <a:lnTo>
                    <a:pt x="710" y="132"/>
                  </a:lnTo>
                  <a:lnTo>
                    <a:pt x="712" y="126"/>
                  </a:lnTo>
                  <a:lnTo>
                    <a:pt x="710" y="120"/>
                  </a:lnTo>
                  <a:lnTo>
                    <a:pt x="702" y="110"/>
                  </a:lnTo>
                  <a:lnTo>
                    <a:pt x="690" y="98"/>
                  </a:lnTo>
                  <a:lnTo>
                    <a:pt x="672" y="82"/>
                  </a:lnTo>
                  <a:lnTo>
                    <a:pt x="672" y="82"/>
                  </a:lnTo>
                  <a:lnTo>
                    <a:pt x="640" y="60"/>
                  </a:lnTo>
                  <a:lnTo>
                    <a:pt x="610" y="42"/>
                  </a:lnTo>
                  <a:lnTo>
                    <a:pt x="582" y="28"/>
                  </a:lnTo>
                  <a:lnTo>
                    <a:pt x="554" y="18"/>
                  </a:lnTo>
                  <a:lnTo>
                    <a:pt x="530" y="10"/>
                  </a:lnTo>
                  <a:lnTo>
                    <a:pt x="506" y="4"/>
                  </a:lnTo>
                  <a:lnTo>
                    <a:pt x="482" y="2"/>
                  </a:lnTo>
                  <a:lnTo>
                    <a:pt x="460" y="0"/>
                  </a:lnTo>
                  <a:close/>
                </a:path>
              </a:pathLst>
            </a:custGeom>
            <a:solidFill>
              <a:srgbClr val="2B8948"/>
            </a:solid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sp>
          <p:nvSpPr>
            <p:cNvPr id="377" name="Freeform 28"/>
            <p:cNvSpPr>
              <a:spLocks/>
            </p:cNvSpPr>
            <p:nvPr/>
          </p:nvSpPr>
          <p:spPr bwMode="auto">
            <a:xfrm>
              <a:off x="13307291" y="4567521"/>
              <a:ext cx="469900" cy="180975"/>
            </a:xfrm>
            <a:custGeom>
              <a:avLst/>
              <a:gdLst>
                <a:gd name="T0" fmla="*/ 138 w 296"/>
                <a:gd name="T1" fmla="*/ 0 h 114"/>
                <a:gd name="T2" fmla="*/ 138 w 296"/>
                <a:gd name="T3" fmla="*/ 0 h 114"/>
                <a:gd name="T4" fmla="*/ 104 w 296"/>
                <a:gd name="T5" fmla="*/ 0 h 114"/>
                <a:gd name="T6" fmla="*/ 70 w 296"/>
                <a:gd name="T7" fmla="*/ 4 h 114"/>
                <a:gd name="T8" fmla="*/ 36 w 296"/>
                <a:gd name="T9" fmla="*/ 6 h 114"/>
                <a:gd name="T10" fmla="*/ 2 w 296"/>
                <a:gd name="T11" fmla="*/ 8 h 114"/>
                <a:gd name="T12" fmla="*/ 2 w 296"/>
                <a:gd name="T13" fmla="*/ 8 h 114"/>
                <a:gd name="T14" fmla="*/ 0 w 296"/>
                <a:gd name="T15" fmla="*/ 14 h 114"/>
                <a:gd name="T16" fmla="*/ 0 w 296"/>
                <a:gd name="T17" fmla="*/ 22 h 114"/>
                <a:gd name="T18" fmla="*/ 4 w 296"/>
                <a:gd name="T19" fmla="*/ 36 h 114"/>
                <a:gd name="T20" fmla="*/ 4 w 296"/>
                <a:gd name="T21" fmla="*/ 36 h 114"/>
                <a:gd name="T22" fmla="*/ 8 w 296"/>
                <a:gd name="T23" fmla="*/ 44 h 114"/>
                <a:gd name="T24" fmla="*/ 14 w 296"/>
                <a:gd name="T25" fmla="*/ 52 h 114"/>
                <a:gd name="T26" fmla="*/ 20 w 296"/>
                <a:gd name="T27" fmla="*/ 58 h 114"/>
                <a:gd name="T28" fmla="*/ 26 w 296"/>
                <a:gd name="T29" fmla="*/ 62 h 114"/>
                <a:gd name="T30" fmla="*/ 42 w 296"/>
                <a:gd name="T31" fmla="*/ 70 h 114"/>
                <a:gd name="T32" fmla="*/ 58 w 296"/>
                <a:gd name="T33" fmla="*/ 74 h 114"/>
                <a:gd name="T34" fmla="*/ 94 w 296"/>
                <a:gd name="T35" fmla="*/ 80 h 114"/>
                <a:gd name="T36" fmla="*/ 110 w 296"/>
                <a:gd name="T37" fmla="*/ 84 h 114"/>
                <a:gd name="T38" fmla="*/ 128 w 296"/>
                <a:gd name="T39" fmla="*/ 88 h 114"/>
                <a:gd name="T40" fmla="*/ 128 w 296"/>
                <a:gd name="T41" fmla="*/ 88 h 114"/>
                <a:gd name="T42" fmla="*/ 184 w 296"/>
                <a:gd name="T43" fmla="*/ 104 h 114"/>
                <a:gd name="T44" fmla="*/ 214 w 296"/>
                <a:gd name="T45" fmla="*/ 112 h 114"/>
                <a:gd name="T46" fmla="*/ 228 w 296"/>
                <a:gd name="T47" fmla="*/ 114 h 114"/>
                <a:gd name="T48" fmla="*/ 244 w 296"/>
                <a:gd name="T49" fmla="*/ 114 h 114"/>
                <a:gd name="T50" fmla="*/ 244 w 296"/>
                <a:gd name="T51" fmla="*/ 114 h 114"/>
                <a:gd name="T52" fmla="*/ 258 w 296"/>
                <a:gd name="T53" fmla="*/ 114 h 114"/>
                <a:gd name="T54" fmla="*/ 270 w 296"/>
                <a:gd name="T55" fmla="*/ 112 h 114"/>
                <a:gd name="T56" fmla="*/ 284 w 296"/>
                <a:gd name="T57" fmla="*/ 106 h 114"/>
                <a:gd name="T58" fmla="*/ 296 w 296"/>
                <a:gd name="T59" fmla="*/ 100 h 114"/>
                <a:gd name="T60" fmla="*/ 296 w 296"/>
                <a:gd name="T61" fmla="*/ 100 h 114"/>
                <a:gd name="T62" fmla="*/ 296 w 296"/>
                <a:gd name="T63" fmla="*/ 92 h 114"/>
                <a:gd name="T64" fmla="*/ 292 w 296"/>
                <a:gd name="T65" fmla="*/ 86 h 114"/>
                <a:gd name="T66" fmla="*/ 284 w 296"/>
                <a:gd name="T67" fmla="*/ 74 h 114"/>
                <a:gd name="T68" fmla="*/ 272 w 296"/>
                <a:gd name="T69" fmla="*/ 62 h 114"/>
                <a:gd name="T70" fmla="*/ 256 w 296"/>
                <a:gd name="T71" fmla="*/ 52 h 114"/>
                <a:gd name="T72" fmla="*/ 224 w 296"/>
                <a:gd name="T73" fmla="*/ 30 h 114"/>
                <a:gd name="T74" fmla="*/ 210 w 296"/>
                <a:gd name="T75" fmla="*/ 18 h 114"/>
                <a:gd name="T76" fmla="*/ 198 w 296"/>
                <a:gd name="T77" fmla="*/ 6 h 114"/>
                <a:gd name="T78" fmla="*/ 198 w 296"/>
                <a:gd name="T79" fmla="*/ 6 h 114"/>
                <a:gd name="T80" fmla="*/ 168 w 296"/>
                <a:gd name="T81" fmla="*/ 0 h 114"/>
                <a:gd name="T82" fmla="*/ 138 w 296"/>
                <a:gd name="T8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14">
                  <a:moveTo>
                    <a:pt x="138" y="0"/>
                  </a:moveTo>
                  <a:lnTo>
                    <a:pt x="138" y="0"/>
                  </a:lnTo>
                  <a:lnTo>
                    <a:pt x="104" y="0"/>
                  </a:lnTo>
                  <a:lnTo>
                    <a:pt x="70" y="4"/>
                  </a:lnTo>
                  <a:lnTo>
                    <a:pt x="36" y="6"/>
                  </a:lnTo>
                  <a:lnTo>
                    <a:pt x="2" y="8"/>
                  </a:lnTo>
                  <a:lnTo>
                    <a:pt x="2" y="8"/>
                  </a:lnTo>
                  <a:lnTo>
                    <a:pt x="0" y="14"/>
                  </a:lnTo>
                  <a:lnTo>
                    <a:pt x="0" y="22"/>
                  </a:lnTo>
                  <a:lnTo>
                    <a:pt x="4" y="36"/>
                  </a:lnTo>
                  <a:lnTo>
                    <a:pt x="4" y="36"/>
                  </a:lnTo>
                  <a:lnTo>
                    <a:pt x="8" y="44"/>
                  </a:lnTo>
                  <a:lnTo>
                    <a:pt x="14" y="52"/>
                  </a:lnTo>
                  <a:lnTo>
                    <a:pt x="20" y="58"/>
                  </a:lnTo>
                  <a:lnTo>
                    <a:pt x="26" y="62"/>
                  </a:lnTo>
                  <a:lnTo>
                    <a:pt x="42" y="70"/>
                  </a:lnTo>
                  <a:lnTo>
                    <a:pt x="58" y="74"/>
                  </a:lnTo>
                  <a:lnTo>
                    <a:pt x="94" y="80"/>
                  </a:lnTo>
                  <a:lnTo>
                    <a:pt x="110" y="84"/>
                  </a:lnTo>
                  <a:lnTo>
                    <a:pt x="128" y="88"/>
                  </a:lnTo>
                  <a:lnTo>
                    <a:pt x="128" y="88"/>
                  </a:lnTo>
                  <a:lnTo>
                    <a:pt x="184" y="104"/>
                  </a:lnTo>
                  <a:lnTo>
                    <a:pt x="214" y="112"/>
                  </a:lnTo>
                  <a:lnTo>
                    <a:pt x="228" y="114"/>
                  </a:lnTo>
                  <a:lnTo>
                    <a:pt x="244" y="114"/>
                  </a:lnTo>
                  <a:lnTo>
                    <a:pt x="244" y="114"/>
                  </a:lnTo>
                  <a:lnTo>
                    <a:pt x="258" y="114"/>
                  </a:lnTo>
                  <a:lnTo>
                    <a:pt x="270" y="112"/>
                  </a:lnTo>
                  <a:lnTo>
                    <a:pt x="284" y="106"/>
                  </a:lnTo>
                  <a:lnTo>
                    <a:pt x="296" y="100"/>
                  </a:lnTo>
                  <a:lnTo>
                    <a:pt x="296" y="100"/>
                  </a:lnTo>
                  <a:lnTo>
                    <a:pt x="296" y="92"/>
                  </a:lnTo>
                  <a:lnTo>
                    <a:pt x="292" y="86"/>
                  </a:lnTo>
                  <a:lnTo>
                    <a:pt x="284" y="74"/>
                  </a:lnTo>
                  <a:lnTo>
                    <a:pt x="272" y="62"/>
                  </a:lnTo>
                  <a:lnTo>
                    <a:pt x="256" y="52"/>
                  </a:lnTo>
                  <a:lnTo>
                    <a:pt x="224" y="30"/>
                  </a:lnTo>
                  <a:lnTo>
                    <a:pt x="210" y="18"/>
                  </a:lnTo>
                  <a:lnTo>
                    <a:pt x="198" y="6"/>
                  </a:lnTo>
                  <a:lnTo>
                    <a:pt x="198" y="6"/>
                  </a:lnTo>
                  <a:lnTo>
                    <a:pt x="168" y="0"/>
                  </a:lnTo>
                  <a:lnTo>
                    <a:pt x="13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8" name="Freeform 29"/>
            <p:cNvSpPr>
              <a:spLocks/>
            </p:cNvSpPr>
            <p:nvPr/>
          </p:nvSpPr>
          <p:spPr bwMode="auto">
            <a:xfrm>
              <a:off x="14012141" y="4545296"/>
              <a:ext cx="44450" cy="53975"/>
            </a:xfrm>
            <a:custGeom>
              <a:avLst/>
              <a:gdLst>
                <a:gd name="T0" fmla="*/ 18 w 28"/>
                <a:gd name="T1" fmla="*/ 0 h 34"/>
                <a:gd name="T2" fmla="*/ 18 w 28"/>
                <a:gd name="T3" fmla="*/ 0 h 34"/>
                <a:gd name="T4" fmla="*/ 12 w 28"/>
                <a:gd name="T5" fmla="*/ 0 h 34"/>
                <a:gd name="T6" fmla="*/ 6 w 28"/>
                <a:gd name="T7" fmla="*/ 4 h 34"/>
                <a:gd name="T8" fmla="*/ 2 w 28"/>
                <a:gd name="T9" fmla="*/ 8 h 34"/>
                <a:gd name="T10" fmla="*/ 0 w 28"/>
                <a:gd name="T11" fmla="*/ 14 h 34"/>
                <a:gd name="T12" fmla="*/ 0 w 28"/>
                <a:gd name="T13" fmla="*/ 14 h 34"/>
                <a:gd name="T14" fmla="*/ 2 w 28"/>
                <a:gd name="T15" fmla="*/ 22 h 34"/>
                <a:gd name="T16" fmla="*/ 4 w 28"/>
                <a:gd name="T17" fmla="*/ 28 h 34"/>
                <a:gd name="T18" fmla="*/ 8 w 28"/>
                <a:gd name="T19" fmla="*/ 32 h 34"/>
                <a:gd name="T20" fmla="*/ 12 w 28"/>
                <a:gd name="T21" fmla="*/ 34 h 34"/>
                <a:gd name="T22" fmla="*/ 12 w 28"/>
                <a:gd name="T23" fmla="*/ 34 h 34"/>
                <a:gd name="T24" fmla="*/ 16 w 28"/>
                <a:gd name="T25" fmla="*/ 32 h 34"/>
                <a:gd name="T26" fmla="*/ 20 w 28"/>
                <a:gd name="T27" fmla="*/ 28 h 34"/>
                <a:gd name="T28" fmla="*/ 22 w 28"/>
                <a:gd name="T29" fmla="*/ 24 h 34"/>
                <a:gd name="T30" fmla="*/ 26 w 28"/>
                <a:gd name="T31" fmla="*/ 16 h 34"/>
                <a:gd name="T32" fmla="*/ 26 w 28"/>
                <a:gd name="T33" fmla="*/ 16 h 34"/>
                <a:gd name="T34" fmla="*/ 28 w 28"/>
                <a:gd name="T35" fmla="*/ 8 h 34"/>
                <a:gd name="T36" fmla="*/ 26 w 28"/>
                <a:gd name="T37" fmla="*/ 4 h 34"/>
                <a:gd name="T38" fmla="*/ 22 w 28"/>
                <a:gd name="T39" fmla="*/ 0 h 34"/>
                <a:gd name="T40" fmla="*/ 18 w 28"/>
                <a:gd name="T4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34">
                  <a:moveTo>
                    <a:pt x="18" y="0"/>
                  </a:moveTo>
                  <a:lnTo>
                    <a:pt x="18" y="0"/>
                  </a:lnTo>
                  <a:lnTo>
                    <a:pt x="12" y="0"/>
                  </a:lnTo>
                  <a:lnTo>
                    <a:pt x="6" y="4"/>
                  </a:lnTo>
                  <a:lnTo>
                    <a:pt x="2" y="8"/>
                  </a:lnTo>
                  <a:lnTo>
                    <a:pt x="0" y="14"/>
                  </a:lnTo>
                  <a:lnTo>
                    <a:pt x="0" y="14"/>
                  </a:lnTo>
                  <a:lnTo>
                    <a:pt x="2" y="22"/>
                  </a:lnTo>
                  <a:lnTo>
                    <a:pt x="4" y="28"/>
                  </a:lnTo>
                  <a:lnTo>
                    <a:pt x="8" y="32"/>
                  </a:lnTo>
                  <a:lnTo>
                    <a:pt x="12" y="34"/>
                  </a:lnTo>
                  <a:lnTo>
                    <a:pt x="12" y="34"/>
                  </a:lnTo>
                  <a:lnTo>
                    <a:pt x="16" y="32"/>
                  </a:lnTo>
                  <a:lnTo>
                    <a:pt x="20" y="28"/>
                  </a:lnTo>
                  <a:lnTo>
                    <a:pt x="22" y="24"/>
                  </a:lnTo>
                  <a:lnTo>
                    <a:pt x="26" y="16"/>
                  </a:lnTo>
                  <a:lnTo>
                    <a:pt x="26" y="16"/>
                  </a:lnTo>
                  <a:lnTo>
                    <a:pt x="28" y="8"/>
                  </a:lnTo>
                  <a:lnTo>
                    <a:pt x="26" y="4"/>
                  </a:lnTo>
                  <a:lnTo>
                    <a:pt x="22" y="0"/>
                  </a:lnTo>
                  <a:lnTo>
                    <a:pt x="1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6" name="Freeform 30"/>
            <p:cNvSpPr>
              <a:spLocks/>
            </p:cNvSpPr>
            <p:nvPr/>
          </p:nvSpPr>
          <p:spPr bwMode="auto">
            <a:xfrm>
              <a:off x="13732741" y="4246846"/>
              <a:ext cx="403225" cy="263525"/>
            </a:xfrm>
            <a:custGeom>
              <a:avLst/>
              <a:gdLst>
                <a:gd name="T0" fmla="*/ 238 w 254"/>
                <a:gd name="T1" fmla="*/ 0 h 166"/>
                <a:gd name="T2" fmla="*/ 228 w 254"/>
                <a:gd name="T3" fmla="*/ 12 h 166"/>
                <a:gd name="T4" fmla="*/ 224 w 254"/>
                <a:gd name="T5" fmla="*/ 22 h 166"/>
                <a:gd name="T6" fmla="*/ 210 w 254"/>
                <a:gd name="T7" fmla="*/ 40 h 166"/>
                <a:gd name="T8" fmla="*/ 194 w 254"/>
                <a:gd name="T9" fmla="*/ 52 h 166"/>
                <a:gd name="T10" fmla="*/ 176 w 254"/>
                <a:gd name="T11" fmla="*/ 58 h 166"/>
                <a:gd name="T12" fmla="*/ 166 w 254"/>
                <a:gd name="T13" fmla="*/ 58 h 166"/>
                <a:gd name="T14" fmla="*/ 154 w 254"/>
                <a:gd name="T15" fmla="*/ 56 h 166"/>
                <a:gd name="T16" fmla="*/ 142 w 254"/>
                <a:gd name="T17" fmla="*/ 48 h 166"/>
                <a:gd name="T18" fmla="*/ 138 w 254"/>
                <a:gd name="T19" fmla="*/ 34 h 166"/>
                <a:gd name="T20" fmla="*/ 140 w 254"/>
                <a:gd name="T21" fmla="*/ 12 h 166"/>
                <a:gd name="T22" fmla="*/ 134 w 254"/>
                <a:gd name="T23" fmla="*/ 6 h 166"/>
                <a:gd name="T24" fmla="*/ 128 w 254"/>
                <a:gd name="T25" fmla="*/ 4 h 166"/>
                <a:gd name="T26" fmla="*/ 114 w 254"/>
                <a:gd name="T27" fmla="*/ 10 h 166"/>
                <a:gd name="T28" fmla="*/ 96 w 254"/>
                <a:gd name="T29" fmla="*/ 26 h 166"/>
                <a:gd name="T30" fmla="*/ 78 w 254"/>
                <a:gd name="T31" fmla="*/ 42 h 166"/>
                <a:gd name="T32" fmla="*/ 58 w 254"/>
                <a:gd name="T33" fmla="*/ 48 h 166"/>
                <a:gd name="T34" fmla="*/ 52 w 254"/>
                <a:gd name="T35" fmla="*/ 48 h 166"/>
                <a:gd name="T36" fmla="*/ 46 w 254"/>
                <a:gd name="T37" fmla="*/ 46 h 166"/>
                <a:gd name="T38" fmla="*/ 26 w 254"/>
                <a:gd name="T39" fmla="*/ 52 h 166"/>
                <a:gd name="T40" fmla="*/ 12 w 254"/>
                <a:gd name="T41" fmla="*/ 66 h 166"/>
                <a:gd name="T42" fmla="*/ 4 w 254"/>
                <a:gd name="T43" fmla="*/ 86 h 166"/>
                <a:gd name="T44" fmla="*/ 0 w 254"/>
                <a:gd name="T45" fmla="*/ 106 h 166"/>
                <a:gd name="T46" fmla="*/ 4 w 254"/>
                <a:gd name="T47" fmla="*/ 126 h 166"/>
                <a:gd name="T48" fmla="*/ 12 w 254"/>
                <a:gd name="T49" fmla="*/ 144 h 166"/>
                <a:gd name="T50" fmla="*/ 26 w 254"/>
                <a:gd name="T51" fmla="*/ 158 h 166"/>
                <a:gd name="T52" fmla="*/ 46 w 254"/>
                <a:gd name="T53" fmla="*/ 164 h 166"/>
                <a:gd name="T54" fmla="*/ 66 w 254"/>
                <a:gd name="T55" fmla="*/ 158 h 166"/>
                <a:gd name="T56" fmla="*/ 102 w 254"/>
                <a:gd name="T57" fmla="*/ 140 h 166"/>
                <a:gd name="T58" fmla="*/ 120 w 254"/>
                <a:gd name="T59" fmla="*/ 138 h 166"/>
                <a:gd name="T60" fmla="*/ 128 w 254"/>
                <a:gd name="T61" fmla="*/ 138 h 166"/>
                <a:gd name="T62" fmla="*/ 144 w 254"/>
                <a:gd name="T63" fmla="*/ 146 h 166"/>
                <a:gd name="T64" fmla="*/ 152 w 254"/>
                <a:gd name="T65" fmla="*/ 152 h 166"/>
                <a:gd name="T66" fmla="*/ 168 w 254"/>
                <a:gd name="T67" fmla="*/ 162 h 166"/>
                <a:gd name="T68" fmla="*/ 186 w 254"/>
                <a:gd name="T69" fmla="*/ 166 h 166"/>
                <a:gd name="T70" fmla="*/ 194 w 254"/>
                <a:gd name="T71" fmla="*/ 164 h 166"/>
                <a:gd name="T72" fmla="*/ 216 w 254"/>
                <a:gd name="T73" fmla="*/ 156 h 166"/>
                <a:gd name="T74" fmla="*/ 240 w 254"/>
                <a:gd name="T75" fmla="*/ 132 h 166"/>
                <a:gd name="T76" fmla="*/ 252 w 254"/>
                <a:gd name="T77" fmla="*/ 100 h 166"/>
                <a:gd name="T78" fmla="*/ 252 w 254"/>
                <a:gd name="T79" fmla="*/ 74 h 166"/>
                <a:gd name="T80" fmla="*/ 250 w 254"/>
                <a:gd name="T81" fmla="*/ 66 h 166"/>
                <a:gd name="T82" fmla="*/ 246 w 254"/>
                <a:gd name="T83" fmla="*/ 50 h 166"/>
                <a:gd name="T84" fmla="*/ 244 w 254"/>
                <a:gd name="T85" fmla="*/ 8 h 166"/>
                <a:gd name="T86" fmla="*/ 238 w 254"/>
                <a:gd name="T8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4" h="166">
                  <a:moveTo>
                    <a:pt x="238" y="0"/>
                  </a:moveTo>
                  <a:lnTo>
                    <a:pt x="238" y="0"/>
                  </a:lnTo>
                  <a:lnTo>
                    <a:pt x="234" y="4"/>
                  </a:lnTo>
                  <a:lnTo>
                    <a:pt x="228" y="12"/>
                  </a:lnTo>
                  <a:lnTo>
                    <a:pt x="228" y="12"/>
                  </a:lnTo>
                  <a:lnTo>
                    <a:pt x="224" y="22"/>
                  </a:lnTo>
                  <a:lnTo>
                    <a:pt x="218" y="32"/>
                  </a:lnTo>
                  <a:lnTo>
                    <a:pt x="210" y="40"/>
                  </a:lnTo>
                  <a:lnTo>
                    <a:pt x="202" y="46"/>
                  </a:lnTo>
                  <a:lnTo>
                    <a:pt x="194" y="52"/>
                  </a:lnTo>
                  <a:lnTo>
                    <a:pt x="184" y="56"/>
                  </a:lnTo>
                  <a:lnTo>
                    <a:pt x="176" y="58"/>
                  </a:lnTo>
                  <a:lnTo>
                    <a:pt x="166" y="58"/>
                  </a:lnTo>
                  <a:lnTo>
                    <a:pt x="166" y="58"/>
                  </a:lnTo>
                  <a:lnTo>
                    <a:pt x="160" y="58"/>
                  </a:lnTo>
                  <a:lnTo>
                    <a:pt x="154" y="56"/>
                  </a:lnTo>
                  <a:lnTo>
                    <a:pt x="148" y="52"/>
                  </a:lnTo>
                  <a:lnTo>
                    <a:pt x="142" y="48"/>
                  </a:lnTo>
                  <a:lnTo>
                    <a:pt x="140" y="42"/>
                  </a:lnTo>
                  <a:lnTo>
                    <a:pt x="138" y="34"/>
                  </a:lnTo>
                  <a:lnTo>
                    <a:pt x="138" y="24"/>
                  </a:lnTo>
                  <a:lnTo>
                    <a:pt x="140" y="12"/>
                  </a:lnTo>
                  <a:lnTo>
                    <a:pt x="140" y="12"/>
                  </a:lnTo>
                  <a:lnTo>
                    <a:pt x="134" y="6"/>
                  </a:lnTo>
                  <a:lnTo>
                    <a:pt x="128" y="4"/>
                  </a:lnTo>
                  <a:lnTo>
                    <a:pt x="128" y="4"/>
                  </a:lnTo>
                  <a:lnTo>
                    <a:pt x="120" y="6"/>
                  </a:lnTo>
                  <a:lnTo>
                    <a:pt x="114" y="10"/>
                  </a:lnTo>
                  <a:lnTo>
                    <a:pt x="96" y="26"/>
                  </a:lnTo>
                  <a:lnTo>
                    <a:pt x="96" y="26"/>
                  </a:lnTo>
                  <a:lnTo>
                    <a:pt x="88" y="34"/>
                  </a:lnTo>
                  <a:lnTo>
                    <a:pt x="78" y="42"/>
                  </a:lnTo>
                  <a:lnTo>
                    <a:pt x="68" y="48"/>
                  </a:lnTo>
                  <a:lnTo>
                    <a:pt x="58" y="48"/>
                  </a:lnTo>
                  <a:lnTo>
                    <a:pt x="58" y="48"/>
                  </a:lnTo>
                  <a:lnTo>
                    <a:pt x="52" y="48"/>
                  </a:lnTo>
                  <a:lnTo>
                    <a:pt x="46" y="46"/>
                  </a:lnTo>
                  <a:lnTo>
                    <a:pt x="46" y="46"/>
                  </a:lnTo>
                  <a:lnTo>
                    <a:pt x="36" y="48"/>
                  </a:lnTo>
                  <a:lnTo>
                    <a:pt x="26" y="52"/>
                  </a:lnTo>
                  <a:lnTo>
                    <a:pt x="18" y="60"/>
                  </a:lnTo>
                  <a:lnTo>
                    <a:pt x="12" y="66"/>
                  </a:lnTo>
                  <a:lnTo>
                    <a:pt x="6" y="76"/>
                  </a:lnTo>
                  <a:lnTo>
                    <a:pt x="4" y="86"/>
                  </a:lnTo>
                  <a:lnTo>
                    <a:pt x="2" y="96"/>
                  </a:lnTo>
                  <a:lnTo>
                    <a:pt x="0" y="106"/>
                  </a:lnTo>
                  <a:lnTo>
                    <a:pt x="2" y="116"/>
                  </a:lnTo>
                  <a:lnTo>
                    <a:pt x="4" y="126"/>
                  </a:lnTo>
                  <a:lnTo>
                    <a:pt x="8" y="136"/>
                  </a:lnTo>
                  <a:lnTo>
                    <a:pt x="12" y="144"/>
                  </a:lnTo>
                  <a:lnTo>
                    <a:pt x="18" y="152"/>
                  </a:lnTo>
                  <a:lnTo>
                    <a:pt x="26" y="158"/>
                  </a:lnTo>
                  <a:lnTo>
                    <a:pt x="36" y="162"/>
                  </a:lnTo>
                  <a:lnTo>
                    <a:pt x="46" y="164"/>
                  </a:lnTo>
                  <a:lnTo>
                    <a:pt x="46" y="164"/>
                  </a:lnTo>
                  <a:lnTo>
                    <a:pt x="66" y="158"/>
                  </a:lnTo>
                  <a:lnTo>
                    <a:pt x="84" y="148"/>
                  </a:lnTo>
                  <a:lnTo>
                    <a:pt x="102" y="140"/>
                  </a:lnTo>
                  <a:lnTo>
                    <a:pt x="110" y="138"/>
                  </a:lnTo>
                  <a:lnTo>
                    <a:pt x="120" y="138"/>
                  </a:lnTo>
                  <a:lnTo>
                    <a:pt x="120" y="138"/>
                  </a:lnTo>
                  <a:lnTo>
                    <a:pt x="128" y="138"/>
                  </a:lnTo>
                  <a:lnTo>
                    <a:pt x="136" y="140"/>
                  </a:lnTo>
                  <a:lnTo>
                    <a:pt x="144" y="146"/>
                  </a:lnTo>
                  <a:lnTo>
                    <a:pt x="152" y="152"/>
                  </a:lnTo>
                  <a:lnTo>
                    <a:pt x="152" y="152"/>
                  </a:lnTo>
                  <a:lnTo>
                    <a:pt x="160" y="158"/>
                  </a:lnTo>
                  <a:lnTo>
                    <a:pt x="168" y="162"/>
                  </a:lnTo>
                  <a:lnTo>
                    <a:pt x="178" y="164"/>
                  </a:lnTo>
                  <a:lnTo>
                    <a:pt x="186" y="166"/>
                  </a:lnTo>
                  <a:lnTo>
                    <a:pt x="186" y="166"/>
                  </a:lnTo>
                  <a:lnTo>
                    <a:pt x="194" y="164"/>
                  </a:lnTo>
                  <a:lnTo>
                    <a:pt x="202" y="164"/>
                  </a:lnTo>
                  <a:lnTo>
                    <a:pt x="216" y="156"/>
                  </a:lnTo>
                  <a:lnTo>
                    <a:pt x="230" y="146"/>
                  </a:lnTo>
                  <a:lnTo>
                    <a:pt x="240" y="132"/>
                  </a:lnTo>
                  <a:lnTo>
                    <a:pt x="248" y="116"/>
                  </a:lnTo>
                  <a:lnTo>
                    <a:pt x="252" y="100"/>
                  </a:lnTo>
                  <a:lnTo>
                    <a:pt x="254" y="84"/>
                  </a:lnTo>
                  <a:lnTo>
                    <a:pt x="252" y="74"/>
                  </a:lnTo>
                  <a:lnTo>
                    <a:pt x="250" y="66"/>
                  </a:lnTo>
                  <a:lnTo>
                    <a:pt x="250" y="66"/>
                  </a:lnTo>
                  <a:lnTo>
                    <a:pt x="248" y="60"/>
                  </a:lnTo>
                  <a:lnTo>
                    <a:pt x="246" y="50"/>
                  </a:lnTo>
                  <a:lnTo>
                    <a:pt x="244" y="28"/>
                  </a:lnTo>
                  <a:lnTo>
                    <a:pt x="244" y="8"/>
                  </a:lnTo>
                  <a:lnTo>
                    <a:pt x="242" y="2"/>
                  </a:lnTo>
                  <a:lnTo>
                    <a:pt x="23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31"/>
            <p:cNvSpPr>
              <a:spLocks/>
            </p:cNvSpPr>
            <p:nvPr/>
          </p:nvSpPr>
          <p:spPr bwMode="auto">
            <a:xfrm>
              <a:off x="14126441" y="3732496"/>
              <a:ext cx="228600" cy="314325"/>
            </a:xfrm>
            <a:custGeom>
              <a:avLst/>
              <a:gdLst>
                <a:gd name="T0" fmla="*/ 30 w 144"/>
                <a:gd name="T1" fmla="*/ 0 h 198"/>
                <a:gd name="T2" fmla="*/ 30 w 144"/>
                <a:gd name="T3" fmla="*/ 0 h 198"/>
                <a:gd name="T4" fmla="*/ 18 w 144"/>
                <a:gd name="T5" fmla="*/ 2 h 198"/>
                <a:gd name="T6" fmla="*/ 12 w 144"/>
                <a:gd name="T7" fmla="*/ 6 h 198"/>
                <a:gd name="T8" fmla="*/ 8 w 144"/>
                <a:gd name="T9" fmla="*/ 8 h 198"/>
                <a:gd name="T10" fmla="*/ 4 w 144"/>
                <a:gd name="T11" fmla="*/ 14 h 198"/>
                <a:gd name="T12" fmla="*/ 2 w 144"/>
                <a:gd name="T13" fmla="*/ 18 h 198"/>
                <a:gd name="T14" fmla="*/ 0 w 144"/>
                <a:gd name="T15" fmla="*/ 26 h 198"/>
                <a:gd name="T16" fmla="*/ 0 w 144"/>
                <a:gd name="T17" fmla="*/ 34 h 198"/>
                <a:gd name="T18" fmla="*/ 0 w 144"/>
                <a:gd name="T19" fmla="*/ 34 h 198"/>
                <a:gd name="T20" fmla="*/ 4 w 144"/>
                <a:gd name="T21" fmla="*/ 34 h 198"/>
                <a:gd name="T22" fmla="*/ 4 w 144"/>
                <a:gd name="T23" fmla="*/ 34 h 198"/>
                <a:gd name="T24" fmla="*/ 14 w 144"/>
                <a:gd name="T25" fmla="*/ 34 h 198"/>
                <a:gd name="T26" fmla="*/ 22 w 144"/>
                <a:gd name="T27" fmla="*/ 36 h 198"/>
                <a:gd name="T28" fmla="*/ 30 w 144"/>
                <a:gd name="T29" fmla="*/ 40 h 198"/>
                <a:gd name="T30" fmla="*/ 36 w 144"/>
                <a:gd name="T31" fmla="*/ 44 h 198"/>
                <a:gd name="T32" fmla="*/ 48 w 144"/>
                <a:gd name="T33" fmla="*/ 54 h 198"/>
                <a:gd name="T34" fmla="*/ 58 w 144"/>
                <a:gd name="T35" fmla="*/ 68 h 198"/>
                <a:gd name="T36" fmla="*/ 64 w 144"/>
                <a:gd name="T37" fmla="*/ 84 h 198"/>
                <a:gd name="T38" fmla="*/ 68 w 144"/>
                <a:gd name="T39" fmla="*/ 100 h 198"/>
                <a:gd name="T40" fmla="*/ 70 w 144"/>
                <a:gd name="T41" fmla="*/ 118 h 198"/>
                <a:gd name="T42" fmla="*/ 70 w 144"/>
                <a:gd name="T43" fmla="*/ 134 h 198"/>
                <a:gd name="T44" fmla="*/ 70 w 144"/>
                <a:gd name="T45" fmla="*/ 134 h 198"/>
                <a:gd name="T46" fmla="*/ 64 w 144"/>
                <a:gd name="T47" fmla="*/ 146 h 198"/>
                <a:gd name="T48" fmla="*/ 62 w 144"/>
                <a:gd name="T49" fmla="*/ 158 h 198"/>
                <a:gd name="T50" fmla="*/ 64 w 144"/>
                <a:gd name="T51" fmla="*/ 168 h 198"/>
                <a:gd name="T52" fmla="*/ 68 w 144"/>
                <a:gd name="T53" fmla="*/ 178 h 198"/>
                <a:gd name="T54" fmla="*/ 74 w 144"/>
                <a:gd name="T55" fmla="*/ 186 h 198"/>
                <a:gd name="T56" fmla="*/ 82 w 144"/>
                <a:gd name="T57" fmla="*/ 192 h 198"/>
                <a:gd name="T58" fmla="*/ 90 w 144"/>
                <a:gd name="T59" fmla="*/ 196 h 198"/>
                <a:gd name="T60" fmla="*/ 100 w 144"/>
                <a:gd name="T61" fmla="*/ 198 h 198"/>
                <a:gd name="T62" fmla="*/ 100 w 144"/>
                <a:gd name="T63" fmla="*/ 198 h 198"/>
                <a:gd name="T64" fmla="*/ 110 w 144"/>
                <a:gd name="T65" fmla="*/ 196 h 198"/>
                <a:gd name="T66" fmla="*/ 118 w 144"/>
                <a:gd name="T67" fmla="*/ 192 h 198"/>
                <a:gd name="T68" fmla="*/ 126 w 144"/>
                <a:gd name="T69" fmla="*/ 186 h 198"/>
                <a:gd name="T70" fmla="*/ 134 w 144"/>
                <a:gd name="T71" fmla="*/ 176 h 198"/>
                <a:gd name="T72" fmla="*/ 134 w 144"/>
                <a:gd name="T73" fmla="*/ 176 h 198"/>
                <a:gd name="T74" fmla="*/ 140 w 144"/>
                <a:gd name="T75" fmla="*/ 166 h 198"/>
                <a:gd name="T76" fmla="*/ 142 w 144"/>
                <a:gd name="T77" fmla="*/ 154 h 198"/>
                <a:gd name="T78" fmla="*/ 144 w 144"/>
                <a:gd name="T79" fmla="*/ 142 h 198"/>
                <a:gd name="T80" fmla="*/ 144 w 144"/>
                <a:gd name="T81" fmla="*/ 130 h 198"/>
                <a:gd name="T82" fmla="*/ 142 w 144"/>
                <a:gd name="T83" fmla="*/ 118 h 198"/>
                <a:gd name="T84" fmla="*/ 140 w 144"/>
                <a:gd name="T85" fmla="*/ 108 h 198"/>
                <a:gd name="T86" fmla="*/ 130 w 144"/>
                <a:gd name="T87" fmla="*/ 84 h 198"/>
                <a:gd name="T88" fmla="*/ 116 w 144"/>
                <a:gd name="T89" fmla="*/ 62 h 198"/>
                <a:gd name="T90" fmla="*/ 100 w 144"/>
                <a:gd name="T91" fmla="*/ 44 h 198"/>
                <a:gd name="T92" fmla="*/ 82 w 144"/>
                <a:gd name="T93" fmla="*/ 26 h 198"/>
                <a:gd name="T94" fmla="*/ 62 w 144"/>
                <a:gd name="T95" fmla="*/ 12 h 198"/>
                <a:gd name="T96" fmla="*/ 62 w 144"/>
                <a:gd name="T97" fmla="*/ 12 h 198"/>
                <a:gd name="T98" fmla="*/ 56 w 144"/>
                <a:gd name="T99" fmla="*/ 8 h 198"/>
                <a:gd name="T100" fmla="*/ 48 w 144"/>
                <a:gd name="T101" fmla="*/ 4 h 198"/>
                <a:gd name="T102" fmla="*/ 38 w 144"/>
                <a:gd name="T103" fmla="*/ 2 h 198"/>
                <a:gd name="T104" fmla="*/ 30 w 144"/>
                <a:gd name="T10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 h="198">
                  <a:moveTo>
                    <a:pt x="30" y="0"/>
                  </a:moveTo>
                  <a:lnTo>
                    <a:pt x="30" y="0"/>
                  </a:lnTo>
                  <a:lnTo>
                    <a:pt x="18" y="2"/>
                  </a:lnTo>
                  <a:lnTo>
                    <a:pt x="12" y="6"/>
                  </a:lnTo>
                  <a:lnTo>
                    <a:pt x="8" y="8"/>
                  </a:lnTo>
                  <a:lnTo>
                    <a:pt x="4" y="14"/>
                  </a:lnTo>
                  <a:lnTo>
                    <a:pt x="2" y="18"/>
                  </a:lnTo>
                  <a:lnTo>
                    <a:pt x="0" y="26"/>
                  </a:lnTo>
                  <a:lnTo>
                    <a:pt x="0" y="34"/>
                  </a:lnTo>
                  <a:lnTo>
                    <a:pt x="0" y="34"/>
                  </a:lnTo>
                  <a:lnTo>
                    <a:pt x="4" y="34"/>
                  </a:lnTo>
                  <a:lnTo>
                    <a:pt x="4" y="34"/>
                  </a:lnTo>
                  <a:lnTo>
                    <a:pt x="14" y="34"/>
                  </a:lnTo>
                  <a:lnTo>
                    <a:pt x="22" y="36"/>
                  </a:lnTo>
                  <a:lnTo>
                    <a:pt x="30" y="40"/>
                  </a:lnTo>
                  <a:lnTo>
                    <a:pt x="36" y="44"/>
                  </a:lnTo>
                  <a:lnTo>
                    <a:pt x="48" y="54"/>
                  </a:lnTo>
                  <a:lnTo>
                    <a:pt x="58" y="68"/>
                  </a:lnTo>
                  <a:lnTo>
                    <a:pt x="64" y="84"/>
                  </a:lnTo>
                  <a:lnTo>
                    <a:pt x="68" y="100"/>
                  </a:lnTo>
                  <a:lnTo>
                    <a:pt x="70" y="118"/>
                  </a:lnTo>
                  <a:lnTo>
                    <a:pt x="70" y="134"/>
                  </a:lnTo>
                  <a:lnTo>
                    <a:pt x="70" y="134"/>
                  </a:lnTo>
                  <a:lnTo>
                    <a:pt x="64" y="146"/>
                  </a:lnTo>
                  <a:lnTo>
                    <a:pt x="62" y="158"/>
                  </a:lnTo>
                  <a:lnTo>
                    <a:pt x="64" y="168"/>
                  </a:lnTo>
                  <a:lnTo>
                    <a:pt x="68" y="178"/>
                  </a:lnTo>
                  <a:lnTo>
                    <a:pt x="74" y="186"/>
                  </a:lnTo>
                  <a:lnTo>
                    <a:pt x="82" y="192"/>
                  </a:lnTo>
                  <a:lnTo>
                    <a:pt x="90" y="196"/>
                  </a:lnTo>
                  <a:lnTo>
                    <a:pt x="100" y="198"/>
                  </a:lnTo>
                  <a:lnTo>
                    <a:pt x="100" y="198"/>
                  </a:lnTo>
                  <a:lnTo>
                    <a:pt x="110" y="196"/>
                  </a:lnTo>
                  <a:lnTo>
                    <a:pt x="118" y="192"/>
                  </a:lnTo>
                  <a:lnTo>
                    <a:pt x="126" y="186"/>
                  </a:lnTo>
                  <a:lnTo>
                    <a:pt x="134" y="176"/>
                  </a:lnTo>
                  <a:lnTo>
                    <a:pt x="134" y="176"/>
                  </a:lnTo>
                  <a:lnTo>
                    <a:pt x="140" y="166"/>
                  </a:lnTo>
                  <a:lnTo>
                    <a:pt x="142" y="154"/>
                  </a:lnTo>
                  <a:lnTo>
                    <a:pt x="144" y="142"/>
                  </a:lnTo>
                  <a:lnTo>
                    <a:pt x="144" y="130"/>
                  </a:lnTo>
                  <a:lnTo>
                    <a:pt x="142" y="118"/>
                  </a:lnTo>
                  <a:lnTo>
                    <a:pt x="140" y="108"/>
                  </a:lnTo>
                  <a:lnTo>
                    <a:pt x="130" y="84"/>
                  </a:lnTo>
                  <a:lnTo>
                    <a:pt x="116" y="62"/>
                  </a:lnTo>
                  <a:lnTo>
                    <a:pt x="100" y="44"/>
                  </a:lnTo>
                  <a:lnTo>
                    <a:pt x="82" y="26"/>
                  </a:lnTo>
                  <a:lnTo>
                    <a:pt x="62" y="12"/>
                  </a:lnTo>
                  <a:lnTo>
                    <a:pt x="62" y="12"/>
                  </a:lnTo>
                  <a:lnTo>
                    <a:pt x="56" y="8"/>
                  </a:lnTo>
                  <a:lnTo>
                    <a:pt x="48" y="4"/>
                  </a:lnTo>
                  <a:lnTo>
                    <a:pt x="38" y="2"/>
                  </a:lnTo>
                  <a:lnTo>
                    <a:pt x="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32"/>
            <p:cNvSpPr>
              <a:spLocks/>
            </p:cNvSpPr>
            <p:nvPr/>
          </p:nvSpPr>
          <p:spPr bwMode="auto">
            <a:xfrm>
              <a:off x="12999316" y="3627721"/>
              <a:ext cx="276225" cy="593725"/>
            </a:xfrm>
            <a:custGeom>
              <a:avLst/>
              <a:gdLst>
                <a:gd name="T0" fmla="*/ 128 w 174"/>
                <a:gd name="T1" fmla="*/ 0 h 374"/>
                <a:gd name="T2" fmla="*/ 128 w 174"/>
                <a:gd name="T3" fmla="*/ 0 h 374"/>
                <a:gd name="T4" fmla="*/ 110 w 174"/>
                <a:gd name="T5" fmla="*/ 2 h 374"/>
                <a:gd name="T6" fmla="*/ 94 w 174"/>
                <a:gd name="T7" fmla="*/ 8 h 374"/>
                <a:gd name="T8" fmla="*/ 80 w 174"/>
                <a:gd name="T9" fmla="*/ 18 h 374"/>
                <a:gd name="T10" fmla="*/ 66 w 174"/>
                <a:gd name="T11" fmla="*/ 28 h 374"/>
                <a:gd name="T12" fmla="*/ 54 w 174"/>
                <a:gd name="T13" fmla="*/ 42 h 374"/>
                <a:gd name="T14" fmla="*/ 44 w 174"/>
                <a:gd name="T15" fmla="*/ 58 h 374"/>
                <a:gd name="T16" fmla="*/ 36 w 174"/>
                <a:gd name="T17" fmla="*/ 74 h 374"/>
                <a:gd name="T18" fmla="*/ 28 w 174"/>
                <a:gd name="T19" fmla="*/ 88 h 374"/>
                <a:gd name="T20" fmla="*/ 28 w 174"/>
                <a:gd name="T21" fmla="*/ 88 h 374"/>
                <a:gd name="T22" fmla="*/ 16 w 174"/>
                <a:gd name="T23" fmla="*/ 114 h 374"/>
                <a:gd name="T24" fmla="*/ 8 w 174"/>
                <a:gd name="T25" fmla="*/ 140 h 374"/>
                <a:gd name="T26" fmla="*/ 4 w 174"/>
                <a:gd name="T27" fmla="*/ 168 h 374"/>
                <a:gd name="T28" fmla="*/ 2 w 174"/>
                <a:gd name="T29" fmla="*/ 194 h 374"/>
                <a:gd name="T30" fmla="*/ 0 w 174"/>
                <a:gd name="T31" fmla="*/ 222 h 374"/>
                <a:gd name="T32" fmla="*/ 2 w 174"/>
                <a:gd name="T33" fmla="*/ 250 h 374"/>
                <a:gd name="T34" fmla="*/ 2 w 174"/>
                <a:gd name="T35" fmla="*/ 306 h 374"/>
                <a:gd name="T36" fmla="*/ 2 w 174"/>
                <a:gd name="T37" fmla="*/ 306 h 374"/>
                <a:gd name="T38" fmla="*/ 0 w 174"/>
                <a:gd name="T39" fmla="*/ 320 h 374"/>
                <a:gd name="T40" fmla="*/ 0 w 174"/>
                <a:gd name="T41" fmla="*/ 334 h 374"/>
                <a:gd name="T42" fmla="*/ 4 w 174"/>
                <a:gd name="T43" fmla="*/ 344 h 374"/>
                <a:gd name="T44" fmla="*/ 10 w 174"/>
                <a:gd name="T45" fmla="*/ 356 h 374"/>
                <a:gd name="T46" fmla="*/ 18 w 174"/>
                <a:gd name="T47" fmla="*/ 364 h 374"/>
                <a:gd name="T48" fmla="*/ 30 w 174"/>
                <a:gd name="T49" fmla="*/ 370 h 374"/>
                <a:gd name="T50" fmla="*/ 40 w 174"/>
                <a:gd name="T51" fmla="*/ 374 h 374"/>
                <a:gd name="T52" fmla="*/ 52 w 174"/>
                <a:gd name="T53" fmla="*/ 374 h 374"/>
                <a:gd name="T54" fmla="*/ 52 w 174"/>
                <a:gd name="T55" fmla="*/ 374 h 374"/>
                <a:gd name="T56" fmla="*/ 66 w 174"/>
                <a:gd name="T57" fmla="*/ 374 h 374"/>
                <a:gd name="T58" fmla="*/ 78 w 174"/>
                <a:gd name="T59" fmla="*/ 368 h 374"/>
                <a:gd name="T60" fmla="*/ 88 w 174"/>
                <a:gd name="T61" fmla="*/ 358 h 374"/>
                <a:gd name="T62" fmla="*/ 98 w 174"/>
                <a:gd name="T63" fmla="*/ 344 h 374"/>
                <a:gd name="T64" fmla="*/ 98 w 174"/>
                <a:gd name="T65" fmla="*/ 344 h 374"/>
                <a:gd name="T66" fmla="*/ 104 w 174"/>
                <a:gd name="T67" fmla="*/ 336 h 374"/>
                <a:gd name="T68" fmla="*/ 110 w 174"/>
                <a:gd name="T69" fmla="*/ 328 h 374"/>
                <a:gd name="T70" fmla="*/ 114 w 174"/>
                <a:gd name="T71" fmla="*/ 320 h 374"/>
                <a:gd name="T72" fmla="*/ 116 w 174"/>
                <a:gd name="T73" fmla="*/ 312 h 374"/>
                <a:gd name="T74" fmla="*/ 118 w 174"/>
                <a:gd name="T75" fmla="*/ 294 h 374"/>
                <a:gd name="T76" fmla="*/ 116 w 174"/>
                <a:gd name="T77" fmla="*/ 278 h 374"/>
                <a:gd name="T78" fmla="*/ 110 w 174"/>
                <a:gd name="T79" fmla="*/ 260 h 374"/>
                <a:gd name="T80" fmla="*/ 104 w 174"/>
                <a:gd name="T81" fmla="*/ 242 h 374"/>
                <a:gd name="T82" fmla="*/ 96 w 174"/>
                <a:gd name="T83" fmla="*/ 224 h 374"/>
                <a:gd name="T84" fmla="*/ 90 w 174"/>
                <a:gd name="T85" fmla="*/ 206 h 374"/>
                <a:gd name="T86" fmla="*/ 90 w 174"/>
                <a:gd name="T87" fmla="*/ 206 h 374"/>
                <a:gd name="T88" fmla="*/ 104 w 174"/>
                <a:gd name="T89" fmla="*/ 156 h 374"/>
                <a:gd name="T90" fmla="*/ 110 w 174"/>
                <a:gd name="T91" fmla="*/ 130 h 374"/>
                <a:gd name="T92" fmla="*/ 120 w 174"/>
                <a:gd name="T93" fmla="*/ 106 h 374"/>
                <a:gd name="T94" fmla="*/ 130 w 174"/>
                <a:gd name="T95" fmla="*/ 82 h 374"/>
                <a:gd name="T96" fmla="*/ 142 w 174"/>
                <a:gd name="T97" fmla="*/ 60 h 374"/>
                <a:gd name="T98" fmla="*/ 156 w 174"/>
                <a:gd name="T99" fmla="*/ 38 h 374"/>
                <a:gd name="T100" fmla="*/ 174 w 174"/>
                <a:gd name="T101" fmla="*/ 18 h 374"/>
                <a:gd name="T102" fmla="*/ 174 w 174"/>
                <a:gd name="T103" fmla="*/ 18 h 374"/>
                <a:gd name="T104" fmla="*/ 156 w 174"/>
                <a:gd name="T105" fmla="*/ 8 h 374"/>
                <a:gd name="T106" fmla="*/ 146 w 174"/>
                <a:gd name="T107" fmla="*/ 2 h 374"/>
                <a:gd name="T108" fmla="*/ 136 w 174"/>
                <a:gd name="T109" fmla="*/ 0 h 374"/>
                <a:gd name="T110" fmla="*/ 136 w 174"/>
                <a:gd name="T111" fmla="*/ 0 h 374"/>
                <a:gd name="T112" fmla="*/ 128 w 174"/>
                <a:gd name="T11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374">
                  <a:moveTo>
                    <a:pt x="128" y="0"/>
                  </a:moveTo>
                  <a:lnTo>
                    <a:pt x="128" y="0"/>
                  </a:lnTo>
                  <a:lnTo>
                    <a:pt x="110" y="2"/>
                  </a:lnTo>
                  <a:lnTo>
                    <a:pt x="94" y="8"/>
                  </a:lnTo>
                  <a:lnTo>
                    <a:pt x="80" y="18"/>
                  </a:lnTo>
                  <a:lnTo>
                    <a:pt x="66" y="28"/>
                  </a:lnTo>
                  <a:lnTo>
                    <a:pt x="54" y="42"/>
                  </a:lnTo>
                  <a:lnTo>
                    <a:pt x="44" y="58"/>
                  </a:lnTo>
                  <a:lnTo>
                    <a:pt x="36" y="74"/>
                  </a:lnTo>
                  <a:lnTo>
                    <a:pt x="28" y="88"/>
                  </a:lnTo>
                  <a:lnTo>
                    <a:pt x="28" y="88"/>
                  </a:lnTo>
                  <a:lnTo>
                    <a:pt x="16" y="114"/>
                  </a:lnTo>
                  <a:lnTo>
                    <a:pt x="8" y="140"/>
                  </a:lnTo>
                  <a:lnTo>
                    <a:pt x="4" y="168"/>
                  </a:lnTo>
                  <a:lnTo>
                    <a:pt x="2" y="194"/>
                  </a:lnTo>
                  <a:lnTo>
                    <a:pt x="0" y="222"/>
                  </a:lnTo>
                  <a:lnTo>
                    <a:pt x="2" y="250"/>
                  </a:lnTo>
                  <a:lnTo>
                    <a:pt x="2" y="306"/>
                  </a:lnTo>
                  <a:lnTo>
                    <a:pt x="2" y="306"/>
                  </a:lnTo>
                  <a:lnTo>
                    <a:pt x="0" y="320"/>
                  </a:lnTo>
                  <a:lnTo>
                    <a:pt x="0" y="334"/>
                  </a:lnTo>
                  <a:lnTo>
                    <a:pt x="4" y="344"/>
                  </a:lnTo>
                  <a:lnTo>
                    <a:pt x="10" y="356"/>
                  </a:lnTo>
                  <a:lnTo>
                    <a:pt x="18" y="364"/>
                  </a:lnTo>
                  <a:lnTo>
                    <a:pt x="30" y="370"/>
                  </a:lnTo>
                  <a:lnTo>
                    <a:pt x="40" y="374"/>
                  </a:lnTo>
                  <a:lnTo>
                    <a:pt x="52" y="374"/>
                  </a:lnTo>
                  <a:lnTo>
                    <a:pt x="52" y="374"/>
                  </a:lnTo>
                  <a:lnTo>
                    <a:pt x="66" y="374"/>
                  </a:lnTo>
                  <a:lnTo>
                    <a:pt x="78" y="368"/>
                  </a:lnTo>
                  <a:lnTo>
                    <a:pt x="88" y="358"/>
                  </a:lnTo>
                  <a:lnTo>
                    <a:pt x="98" y="344"/>
                  </a:lnTo>
                  <a:lnTo>
                    <a:pt x="98" y="344"/>
                  </a:lnTo>
                  <a:lnTo>
                    <a:pt x="104" y="336"/>
                  </a:lnTo>
                  <a:lnTo>
                    <a:pt x="110" y="328"/>
                  </a:lnTo>
                  <a:lnTo>
                    <a:pt x="114" y="320"/>
                  </a:lnTo>
                  <a:lnTo>
                    <a:pt x="116" y="312"/>
                  </a:lnTo>
                  <a:lnTo>
                    <a:pt x="118" y="294"/>
                  </a:lnTo>
                  <a:lnTo>
                    <a:pt x="116" y="278"/>
                  </a:lnTo>
                  <a:lnTo>
                    <a:pt x="110" y="260"/>
                  </a:lnTo>
                  <a:lnTo>
                    <a:pt x="104" y="242"/>
                  </a:lnTo>
                  <a:lnTo>
                    <a:pt x="96" y="224"/>
                  </a:lnTo>
                  <a:lnTo>
                    <a:pt x="90" y="206"/>
                  </a:lnTo>
                  <a:lnTo>
                    <a:pt x="90" y="206"/>
                  </a:lnTo>
                  <a:lnTo>
                    <a:pt x="104" y="156"/>
                  </a:lnTo>
                  <a:lnTo>
                    <a:pt x="110" y="130"/>
                  </a:lnTo>
                  <a:lnTo>
                    <a:pt x="120" y="106"/>
                  </a:lnTo>
                  <a:lnTo>
                    <a:pt x="130" y="82"/>
                  </a:lnTo>
                  <a:lnTo>
                    <a:pt x="142" y="60"/>
                  </a:lnTo>
                  <a:lnTo>
                    <a:pt x="156" y="38"/>
                  </a:lnTo>
                  <a:lnTo>
                    <a:pt x="174" y="18"/>
                  </a:lnTo>
                  <a:lnTo>
                    <a:pt x="174" y="18"/>
                  </a:lnTo>
                  <a:lnTo>
                    <a:pt x="156" y="8"/>
                  </a:lnTo>
                  <a:lnTo>
                    <a:pt x="146" y="2"/>
                  </a:lnTo>
                  <a:lnTo>
                    <a:pt x="136" y="0"/>
                  </a:lnTo>
                  <a:lnTo>
                    <a:pt x="136" y="0"/>
                  </a:lnTo>
                  <a:lnTo>
                    <a:pt x="12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3" name="Freeform 33"/>
            <p:cNvSpPr>
              <a:spLocks/>
            </p:cNvSpPr>
            <p:nvPr/>
          </p:nvSpPr>
          <p:spPr bwMode="auto">
            <a:xfrm>
              <a:off x="13370791" y="3395946"/>
              <a:ext cx="758825" cy="809625"/>
            </a:xfrm>
            <a:custGeom>
              <a:avLst/>
              <a:gdLst>
                <a:gd name="T0" fmla="*/ 226 w 478"/>
                <a:gd name="T1" fmla="*/ 0 h 510"/>
                <a:gd name="T2" fmla="*/ 172 w 478"/>
                <a:gd name="T3" fmla="*/ 6 h 510"/>
                <a:gd name="T4" fmla="*/ 122 w 478"/>
                <a:gd name="T5" fmla="*/ 14 h 510"/>
                <a:gd name="T6" fmla="*/ 72 w 478"/>
                <a:gd name="T7" fmla="*/ 28 h 510"/>
                <a:gd name="T8" fmla="*/ 46 w 478"/>
                <a:gd name="T9" fmla="*/ 46 h 510"/>
                <a:gd name="T10" fmla="*/ 28 w 478"/>
                <a:gd name="T11" fmla="*/ 74 h 510"/>
                <a:gd name="T12" fmla="*/ 8 w 478"/>
                <a:gd name="T13" fmla="*/ 108 h 510"/>
                <a:gd name="T14" fmla="*/ 0 w 478"/>
                <a:gd name="T15" fmla="*/ 130 h 510"/>
                <a:gd name="T16" fmla="*/ 6 w 478"/>
                <a:gd name="T17" fmla="*/ 146 h 510"/>
                <a:gd name="T18" fmla="*/ 20 w 478"/>
                <a:gd name="T19" fmla="*/ 156 h 510"/>
                <a:gd name="T20" fmla="*/ 58 w 478"/>
                <a:gd name="T21" fmla="*/ 170 h 510"/>
                <a:gd name="T22" fmla="*/ 84 w 478"/>
                <a:gd name="T23" fmla="*/ 184 h 510"/>
                <a:gd name="T24" fmla="*/ 96 w 478"/>
                <a:gd name="T25" fmla="*/ 198 h 510"/>
                <a:gd name="T26" fmla="*/ 96 w 478"/>
                <a:gd name="T27" fmla="*/ 208 h 510"/>
                <a:gd name="T28" fmla="*/ 98 w 478"/>
                <a:gd name="T29" fmla="*/ 232 h 510"/>
                <a:gd name="T30" fmla="*/ 96 w 478"/>
                <a:gd name="T31" fmla="*/ 248 h 510"/>
                <a:gd name="T32" fmla="*/ 78 w 478"/>
                <a:gd name="T33" fmla="*/ 274 h 510"/>
                <a:gd name="T34" fmla="*/ 58 w 478"/>
                <a:gd name="T35" fmla="*/ 298 h 510"/>
                <a:gd name="T36" fmla="*/ 52 w 478"/>
                <a:gd name="T37" fmla="*/ 312 h 510"/>
                <a:gd name="T38" fmla="*/ 52 w 478"/>
                <a:gd name="T39" fmla="*/ 332 h 510"/>
                <a:gd name="T40" fmla="*/ 56 w 478"/>
                <a:gd name="T41" fmla="*/ 366 h 510"/>
                <a:gd name="T42" fmla="*/ 64 w 478"/>
                <a:gd name="T43" fmla="*/ 394 h 510"/>
                <a:gd name="T44" fmla="*/ 74 w 478"/>
                <a:gd name="T45" fmla="*/ 412 h 510"/>
                <a:gd name="T46" fmla="*/ 88 w 478"/>
                <a:gd name="T47" fmla="*/ 430 h 510"/>
                <a:gd name="T48" fmla="*/ 146 w 478"/>
                <a:gd name="T49" fmla="*/ 480 h 510"/>
                <a:gd name="T50" fmla="*/ 178 w 478"/>
                <a:gd name="T51" fmla="*/ 502 h 510"/>
                <a:gd name="T52" fmla="*/ 214 w 478"/>
                <a:gd name="T53" fmla="*/ 510 h 510"/>
                <a:gd name="T54" fmla="*/ 224 w 478"/>
                <a:gd name="T55" fmla="*/ 510 h 510"/>
                <a:gd name="T56" fmla="*/ 234 w 478"/>
                <a:gd name="T57" fmla="*/ 508 h 510"/>
                <a:gd name="T58" fmla="*/ 248 w 478"/>
                <a:gd name="T59" fmla="*/ 490 h 510"/>
                <a:gd name="T60" fmla="*/ 248 w 478"/>
                <a:gd name="T61" fmla="*/ 478 h 510"/>
                <a:gd name="T62" fmla="*/ 238 w 478"/>
                <a:gd name="T63" fmla="*/ 472 h 510"/>
                <a:gd name="T64" fmla="*/ 200 w 478"/>
                <a:gd name="T65" fmla="*/ 464 h 510"/>
                <a:gd name="T66" fmla="*/ 172 w 478"/>
                <a:gd name="T67" fmla="*/ 456 h 510"/>
                <a:gd name="T68" fmla="*/ 158 w 478"/>
                <a:gd name="T69" fmla="*/ 446 h 510"/>
                <a:gd name="T70" fmla="*/ 156 w 478"/>
                <a:gd name="T71" fmla="*/ 438 h 510"/>
                <a:gd name="T72" fmla="*/ 162 w 478"/>
                <a:gd name="T73" fmla="*/ 378 h 510"/>
                <a:gd name="T74" fmla="*/ 172 w 478"/>
                <a:gd name="T75" fmla="*/ 338 h 510"/>
                <a:gd name="T76" fmla="*/ 192 w 478"/>
                <a:gd name="T77" fmla="*/ 304 h 510"/>
                <a:gd name="T78" fmla="*/ 208 w 478"/>
                <a:gd name="T79" fmla="*/ 292 h 510"/>
                <a:gd name="T80" fmla="*/ 218 w 478"/>
                <a:gd name="T81" fmla="*/ 286 h 510"/>
                <a:gd name="T82" fmla="*/ 234 w 478"/>
                <a:gd name="T83" fmla="*/ 274 h 510"/>
                <a:gd name="T84" fmla="*/ 248 w 478"/>
                <a:gd name="T85" fmla="*/ 246 h 510"/>
                <a:gd name="T86" fmla="*/ 260 w 478"/>
                <a:gd name="T87" fmla="*/ 202 h 510"/>
                <a:gd name="T88" fmla="*/ 272 w 478"/>
                <a:gd name="T89" fmla="*/ 170 h 510"/>
                <a:gd name="T90" fmla="*/ 284 w 478"/>
                <a:gd name="T91" fmla="*/ 150 h 510"/>
                <a:gd name="T92" fmla="*/ 292 w 478"/>
                <a:gd name="T93" fmla="*/ 142 h 510"/>
                <a:gd name="T94" fmla="*/ 310 w 478"/>
                <a:gd name="T95" fmla="*/ 134 h 510"/>
                <a:gd name="T96" fmla="*/ 338 w 478"/>
                <a:gd name="T97" fmla="*/ 130 h 510"/>
                <a:gd name="T98" fmla="*/ 364 w 478"/>
                <a:gd name="T99" fmla="*/ 132 h 510"/>
                <a:gd name="T100" fmla="*/ 394 w 478"/>
                <a:gd name="T101" fmla="*/ 134 h 510"/>
                <a:gd name="T102" fmla="*/ 446 w 478"/>
                <a:gd name="T103" fmla="*/ 138 h 510"/>
                <a:gd name="T104" fmla="*/ 458 w 478"/>
                <a:gd name="T105" fmla="*/ 136 h 510"/>
                <a:gd name="T106" fmla="*/ 476 w 478"/>
                <a:gd name="T107" fmla="*/ 132 h 510"/>
                <a:gd name="T108" fmla="*/ 476 w 478"/>
                <a:gd name="T109" fmla="*/ 120 h 510"/>
                <a:gd name="T110" fmla="*/ 456 w 478"/>
                <a:gd name="T111" fmla="*/ 98 h 510"/>
                <a:gd name="T112" fmla="*/ 438 w 478"/>
                <a:gd name="T113" fmla="*/ 82 h 510"/>
                <a:gd name="T114" fmla="*/ 376 w 478"/>
                <a:gd name="T115" fmla="*/ 42 h 510"/>
                <a:gd name="T116" fmla="*/ 320 w 478"/>
                <a:gd name="T117" fmla="*/ 18 h 510"/>
                <a:gd name="T118" fmla="*/ 272 w 478"/>
                <a:gd name="T119" fmla="*/ 4 h 510"/>
                <a:gd name="T120" fmla="*/ 226 w 478"/>
                <a:gd name="T121"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8" h="510">
                  <a:moveTo>
                    <a:pt x="226" y="0"/>
                  </a:moveTo>
                  <a:lnTo>
                    <a:pt x="226" y="0"/>
                  </a:lnTo>
                  <a:lnTo>
                    <a:pt x="198" y="2"/>
                  </a:lnTo>
                  <a:lnTo>
                    <a:pt x="172" y="6"/>
                  </a:lnTo>
                  <a:lnTo>
                    <a:pt x="122" y="14"/>
                  </a:lnTo>
                  <a:lnTo>
                    <a:pt x="122" y="14"/>
                  </a:lnTo>
                  <a:lnTo>
                    <a:pt x="94" y="20"/>
                  </a:lnTo>
                  <a:lnTo>
                    <a:pt x="72" y="28"/>
                  </a:lnTo>
                  <a:lnTo>
                    <a:pt x="56" y="36"/>
                  </a:lnTo>
                  <a:lnTo>
                    <a:pt x="46" y="46"/>
                  </a:lnTo>
                  <a:lnTo>
                    <a:pt x="36" y="60"/>
                  </a:lnTo>
                  <a:lnTo>
                    <a:pt x="28" y="74"/>
                  </a:lnTo>
                  <a:lnTo>
                    <a:pt x="8" y="108"/>
                  </a:lnTo>
                  <a:lnTo>
                    <a:pt x="8" y="108"/>
                  </a:lnTo>
                  <a:lnTo>
                    <a:pt x="2" y="120"/>
                  </a:lnTo>
                  <a:lnTo>
                    <a:pt x="0" y="130"/>
                  </a:lnTo>
                  <a:lnTo>
                    <a:pt x="2" y="138"/>
                  </a:lnTo>
                  <a:lnTo>
                    <a:pt x="6" y="146"/>
                  </a:lnTo>
                  <a:lnTo>
                    <a:pt x="12" y="150"/>
                  </a:lnTo>
                  <a:lnTo>
                    <a:pt x="20" y="156"/>
                  </a:lnTo>
                  <a:lnTo>
                    <a:pt x="38" y="162"/>
                  </a:lnTo>
                  <a:lnTo>
                    <a:pt x="58" y="170"/>
                  </a:lnTo>
                  <a:lnTo>
                    <a:pt x="76" y="178"/>
                  </a:lnTo>
                  <a:lnTo>
                    <a:pt x="84" y="184"/>
                  </a:lnTo>
                  <a:lnTo>
                    <a:pt x="90" y="190"/>
                  </a:lnTo>
                  <a:lnTo>
                    <a:pt x="96" y="198"/>
                  </a:lnTo>
                  <a:lnTo>
                    <a:pt x="96" y="208"/>
                  </a:lnTo>
                  <a:lnTo>
                    <a:pt x="96" y="208"/>
                  </a:lnTo>
                  <a:lnTo>
                    <a:pt x="98" y="220"/>
                  </a:lnTo>
                  <a:lnTo>
                    <a:pt x="98" y="232"/>
                  </a:lnTo>
                  <a:lnTo>
                    <a:pt x="98" y="240"/>
                  </a:lnTo>
                  <a:lnTo>
                    <a:pt x="96" y="248"/>
                  </a:lnTo>
                  <a:lnTo>
                    <a:pt x="88" y="262"/>
                  </a:lnTo>
                  <a:lnTo>
                    <a:pt x="78" y="274"/>
                  </a:lnTo>
                  <a:lnTo>
                    <a:pt x="68" y="286"/>
                  </a:lnTo>
                  <a:lnTo>
                    <a:pt x="58" y="298"/>
                  </a:lnTo>
                  <a:lnTo>
                    <a:pt x="56" y="304"/>
                  </a:lnTo>
                  <a:lnTo>
                    <a:pt x="52" y="312"/>
                  </a:lnTo>
                  <a:lnTo>
                    <a:pt x="52" y="322"/>
                  </a:lnTo>
                  <a:lnTo>
                    <a:pt x="52" y="332"/>
                  </a:lnTo>
                  <a:lnTo>
                    <a:pt x="52" y="332"/>
                  </a:lnTo>
                  <a:lnTo>
                    <a:pt x="56" y="366"/>
                  </a:lnTo>
                  <a:lnTo>
                    <a:pt x="58" y="382"/>
                  </a:lnTo>
                  <a:lnTo>
                    <a:pt x="64" y="394"/>
                  </a:lnTo>
                  <a:lnTo>
                    <a:pt x="68" y="404"/>
                  </a:lnTo>
                  <a:lnTo>
                    <a:pt x="74" y="412"/>
                  </a:lnTo>
                  <a:lnTo>
                    <a:pt x="88" y="430"/>
                  </a:lnTo>
                  <a:lnTo>
                    <a:pt x="88" y="430"/>
                  </a:lnTo>
                  <a:lnTo>
                    <a:pt x="118" y="454"/>
                  </a:lnTo>
                  <a:lnTo>
                    <a:pt x="146" y="480"/>
                  </a:lnTo>
                  <a:lnTo>
                    <a:pt x="162" y="492"/>
                  </a:lnTo>
                  <a:lnTo>
                    <a:pt x="178" y="502"/>
                  </a:lnTo>
                  <a:lnTo>
                    <a:pt x="196" y="508"/>
                  </a:lnTo>
                  <a:lnTo>
                    <a:pt x="214" y="510"/>
                  </a:lnTo>
                  <a:lnTo>
                    <a:pt x="214" y="510"/>
                  </a:lnTo>
                  <a:lnTo>
                    <a:pt x="224" y="510"/>
                  </a:lnTo>
                  <a:lnTo>
                    <a:pt x="234" y="508"/>
                  </a:lnTo>
                  <a:lnTo>
                    <a:pt x="234" y="508"/>
                  </a:lnTo>
                  <a:lnTo>
                    <a:pt x="242" y="498"/>
                  </a:lnTo>
                  <a:lnTo>
                    <a:pt x="248" y="490"/>
                  </a:lnTo>
                  <a:lnTo>
                    <a:pt x="250" y="484"/>
                  </a:lnTo>
                  <a:lnTo>
                    <a:pt x="248" y="478"/>
                  </a:lnTo>
                  <a:lnTo>
                    <a:pt x="244" y="474"/>
                  </a:lnTo>
                  <a:lnTo>
                    <a:pt x="238" y="472"/>
                  </a:lnTo>
                  <a:lnTo>
                    <a:pt x="220" y="468"/>
                  </a:lnTo>
                  <a:lnTo>
                    <a:pt x="200" y="464"/>
                  </a:lnTo>
                  <a:lnTo>
                    <a:pt x="180" y="460"/>
                  </a:lnTo>
                  <a:lnTo>
                    <a:pt x="172" y="456"/>
                  </a:lnTo>
                  <a:lnTo>
                    <a:pt x="164" y="452"/>
                  </a:lnTo>
                  <a:lnTo>
                    <a:pt x="158" y="446"/>
                  </a:lnTo>
                  <a:lnTo>
                    <a:pt x="156" y="438"/>
                  </a:lnTo>
                  <a:lnTo>
                    <a:pt x="156" y="438"/>
                  </a:lnTo>
                  <a:lnTo>
                    <a:pt x="160" y="398"/>
                  </a:lnTo>
                  <a:lnTo>
                    <a:pt x="162" y="378"/>
                  </a:lnTo>
                  <a:lnTo>
                    <a:pt x="166" y="358"/>
                  </a:lnTo>
                  <a:lnTo>
                    <a:pt x="172" y="338"/>
                  </a:lnTo>
                  <a:lnTo>
                    <a:pt x="180" y="320"/>
                  </a:lnTo>
                  <a:lnTo>
                    <a:pt x="192" y="304"/>
                  </a:lnTo>
                  <a:lnTo>
                    <a:pt x="200" y="298"/>
                  </a:lnTo>
                  <a:lnTo>
                    <a:pt x="208" y="292"/>
                  </a:lnTo>
                  <a:lnTo>
                    <a:pt x="208" y="292"/>
                  </a:lnTo>
                  <a:lnTo>
                    <a:pt x="218" y="286"/>
                  </a:lnTo>
                  <a:lnTo>
                    <a:pt x="226" y="282"/>
                  </a:lnTo>
                  <a:lnTo>
                    <a:pt x="234" y="274"/>
                  </a:lnTo>
                  <a:lnTo>
                    <a:pt x="238" y="266"/>
                  </a:lnTo>
                  <a:lnTo>
                    <a:pt x="248" y="246"/>
                  </a:lnTo>
                  <a:lnTo>
                    <a:pt x="254" y="224"/>
                  </a:lnTo>
                  <a:lnTo>
                    <a:pt x="260" y="202"/>
                  </a:lnTo>
                  <a:lnTo>
                    <a:pt x="266" y="180"/>
                  </a:lnTo>
                  <a:lnTo>
                    <a:pt x="272" y="170"/>
                  </a:lnTo>
                  <a:lnTo>
                    <a:pt x="276" y="160"/>
                  </a:lnTo>
                  <a:lnTo>
                    <a:pt x="284" y="150"/>
                  </a:lnTo>
                  <a:lnTo>
                    <a:pt x="292" y="142"/>
                  </a:lnTo>
                  <a:lnTo>
                    <a:pt x="292" y="142"/>
                  </a:lnTo>
                  <a:lnTo>
                    <a:pt x="298" y="136"/>
                  </a:lnTo>
                  <a:lnTo>
                    <a:pt x="310" y="134"/>
                  </a:lnTo>
                  <a:lnTo>
                    <a:pt x="322" y="132"/>
                  </a:lnTo>
                  <a:lnTo>
                    <a:pt x="338" y="130"/>
                  </a:lnTo>
                  <a:lnTo>
                    <a:pt x="338" y="130"/>
                  </a:lnTo>
                  <a:lnTo>
                    <a:pt x="364" y="132"/>
                  </a:lnTo>
                  <a:lnTo>
                    <a:pt x="394" y="134"/>
                  </a:lnTo>
                  <a:lnTo>
                    <a:pt x="394" y="134"/>
                  </a:lnTo>
                  <a:lnTo>
                    <a:pt x="422" y="136"/>
                  </a:lnTo>
                  <a:lnTo>
                    <a:pt x="446" y="138"/>
                  </a:lnTo>
                  <a:lnTo>
                    <a:pt x="446" y="138"/>
                  </a:lnTo>
                  <a:lnTo>
                    <a:pt x="458" y="136"/>
                  </a:lnTo>
                  <a:lnTo>
                    <a:pt x="468" y="134"/>
                  </a:lnTo>
                  <a:lnTo>
                    <a:pt x="476" y="132"/>
                  </a:lnTo>
                  <a:lnTo>
                    <a:pt x="478" y="126"/>
                  </a:lnTo>
                  <a:lnTo>
                    <a:pt x="476" y="120"/>
                  </a:lnTo>
                  <a:lnTo>
                    <a:pt x="468" y="110"/>
                  </a:lnTo>
                  <a:lnTo>
                    <a:pt x="456" y="98"/>
                  </a:lnTo>
                  <a:lnTo>
                    <a:pt x="438" y="82"/>
                  </a:lnTo>
                  <a:lnTo>
                    <a:pt x="438" y="82"/>
                  </a:lnTo>
                  <a:lnTo>
                    <a:pt x="406" y="60"/>
                  </a:lnTo>
                  <a:lnTo>
                    <a:pt x="376" y="42"/>
                  </a:lnTo>
                  <a:lnTo>
                    <a:pt x="348" y="28"/>
                  </a:lnTo>
                  <a:lnTo>
                    <a:pt x="320" y="18"/>
                  </a:lnTo>
                  <a:lnTo>
                    <a:pt x="296" y="10"/>
                  </a:lnTo>
                  <a:lnTo>
                    <a:pt x="272" y="4"/>
                  </a:lnTo>
                  <a:lnTo>
                    <a:pt x="248" y="2"/>
                  </a:lnTo>
                  <a:lnTo>
                    <a:pt x="22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5" name="Rectangle 394"/>
          <p:cNvSpPr/>
          <p:nvPr/>
        </p:nvSpPr>
        <p:spPr bwMode="auto">
          <a:xfrm>
            <a:off x="191564" y="1874266"/>
            <a:ext cx="6907766" cy="4605482"/>
          </a:xfrm>
          <a:prstGeom prst="rect">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396" name="Group 395"/>
          <p:cNvGrpSpPr/>
          <p:nvPr/>
        </p:nvGrpSpPr>
        <p:grpSpPr>
          <a:xfrm>
            <a:off x="222562" y="1976142"/>
            <a:ext cx="6853307" cy="2058904"/>
            <a:chOff x="2096035" y="1976142"/>
            <a:chExt cx="7656758" cy="2058904"/>
          </a:xfrm>
        </p:grpSpPr>
        <p:grpSp>
          <p:nvGrpSpPr>
            <p:cNvPr id="397" name="Group 396"/>
            <p:cNvGrpSpPr/>
            <p:nvPr/>
          </p:nvGrpSpPr>
          <p:grpSpPr>
            <a:xfrm>
              <a:off x="3067555" y="1976142"/>
              <a:ext cx="6685238" cy="1688475"/>
              <a:chOff x="1659120" y="1103085"/>
              <a:chExt cx="7199767" cy="1688475"/>
            </a:xfrm>
          </p:grpSpPr>
          <p:sp>
            <p:nvSpPr>
              <p:cNvPr id="400" name="Rectangle 399"/>
              <p:cNvSpPr/>
              <p:nvPr/>
            </p:nvSpPr>
            <p:spPr bwMode="auto">
              <a:xfrm>
                <a:off x="1659120" y="1103085"/>
                <a:ext cx="6142003" cy="1232911"/>
              </a:xfrm>
              <a:prstGeom prst="rect">
                <a:avLst/>
              </a:pr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01" name="Rectangle 590"/>
              <p:cNvSpPr/>
              <p:nvPr/>
            </p:nvSpPr>
            <p:spPr bwMode="auto">
              <a:xfrm>
                <a:off x="7827122" y="1103086"/>
                <a:ext cx="1031765" cy="1688474"/>
              </a:xfrm>
              <a:custGeom>
                <a:avLst/>
                <a:gdLst>
                  <a:gd name="connsiteX0" fmla="*/ 0 w 960706"/>
                  <a:gd name="connsiteY0" fmla="*/ 0 h 1232911"/>
                  <a:gd name="connsiteX1" fmla="*/ 960706 w 960706"/>
                  <a:gd name="connsiteY1" fmla="*/ 0 h 1232911"/>
                  <a:gd name="connsiteX2" fmla="*/ 960706 w 960706"/>
                  <a:gd name="connsiteY2" fmla="*/ 1232911 h 1232911"/>
                  <a:gd name="connsiteX3" fmla="*/ 0 w 960706"/>
                  <a:gd name="connsiteY3" fmla="*/ 1232911 h 1232911"/>
                  <a:gd name="connsiteX4" fmla="*/ 0 w 960706"/>
                  <a:gd name="connsiteY4" fmla="*/ 0 h 1232911"/>
                  <a:gd name="connsiteX0" fmla="*/ 0 w 970231"/>
                  <a:gd name="connsiteY0" fmla="*/ 0 h 1699636"/>
                  <a:gd name="connsiteX1" fmla="*/ 960706 w 970231"/>
                  <a:gd name="connsiteY1" fmla="*/ 0 h 1699636"/>
                  <a:gd name="connsiteX2" fmla="*/ 970231 w 970231"/>
                  <a:gd name="connsiteY2" fmla="*/ 1699636 h 1699636"/>
                  <a:gd name="connsiteX3" fmla="*/ 0 w 970231"/>
                  <a:gd name="connsiteY3" fmla="*/ 1232911 h 1699636"/>
                  <a:gd name="connsiteX4" fmla="*/ 0 w 970231"/>
                  <a:gd name="connsiteY4" fmla="*/ 0 h 1699636"/>
                  <a:gd name="connsiteX0" fmla="*/ 0 w 970231"/>
                  <a:gd name="connsiteY0" fmla="*/ 0 h 1652011"/>
                  <a:gd name="connsiteX1" fmla="*/ 960706 w 970231"/>
                  <a:gd name="connsiteY1" fmla="*/ 0 h 1652011"/>
                  <a:gd name="connsiteX2" fmla="*/ 970231 w 970231"/>
                  <a:gd name="connsiteY2" fmla="*/ 1652011 h 1652011"/>
                  <a:gd name="connsiteX3" fmla="*/ 0 w 970231"/>
                  <a:gd name="connsiteY3" fmla="*/ 1232911 h 1652011"/>
                  <a:gd name="connsiteX4" fmla="*/ 0 w 970231"/>
                  <a:gd name="connsiteY4" fmla="*/ 0 h 1652011"/>
                  <a:gd name="connsiteX0" fmla="*/ 0 w 975455"/>
                  <a:gd name="connsiteY0" fmla="*/ 0 h 1688474"/>
                  <a:gd name="connsiteX1" fmla="*/ 960706 w 975455"/>
                  <a:gd name="connsiteY1" fmla="*/ 0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0 w 975455"/>
                  <a:gd name="connsiteY3" fmla="*/ 1232911 h 1688474"/>
                  <a:gd name="connsiteX4" fmla="*/ 0 w 975455"/>
                  <a:gd name="connsiteY4" fmla="*/ 0 h 168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5" h="1688474">
                    <a:moveTo>
                      <a:pt x="0" y="0"/>
                    </a:moveTo>
                    <a:lnTo>
                      <a:pt x="968542" y="2805"/>
                    </a:lnTo>
                    <a:cubicBezTo>
                      <a:pt x="970846" y="564695"/>
                      <a:pt x="973151" y="1126584"/>
                      <a:pt x="975455" y="1688474"/>
                    </a:cubicBezTo>
                    <a:lnTo>
                      <a:pt x="0" y="1232911"/>
                    </a:lnTo>
                    <a:lnTo>
                      <a:pt x="0" y="0"/>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399" name="Rectangle 590"/>
            <p:cNvSpPr/>
            <p:nvPr/>
          </p:nvSpPr>
          <p:spPr bwMode="auto">
            <a:xfrm flipH="1">
              <a:off x="2096035" y="1976142"/>
              <a:ext cx="942333" cy="2058904"/>
            </a:xfrm>
            <a:custGeom>
              <a:avLst/>
              <a:gdLst>
                <a:gd name="connsiteX0" fmla="*/ 0 w 960706"/>
                <a:gd name="connsiteY0" fmla="*/ 0 h 1232911"/>
                <a:gd name="connsiteX1" fmla="*/ 960706 w 960706"/>
                <a:gd name="connsiteY1" fmla="*/ 0 h 1232911"/>
                <a:gd name="connsiteX2" fmla="*/ 960706 w 960706"/>
                <a:gd name="connsiteY2" fmla="*/ 1232911 h 1232911"/>
                <a:gd name="connsiteX3" fmla="*/ 0 w 960706"/>
                <a:gd name="connsiteY3" fmla="*/ 1232911 h 1232911"/>
                <a:gd name="connsiteX4" fmla="*/ 0 w 960706"/>
                <a:gd name="connsiteY4" fmla="*/ 0 h 1232911"/>
                <a:gd name="connsiteX0" fmla="*/ 0 w 970231"/>
                <a:gd name="connsiteY0" fmla="*/ 0 h 1699636"/>
                <a:gd name="connsiteX1" fmla="*/ 960706 w 970231"/>
                <a:gd name="connsiteY1" fmla="*/ 0 h 1699636"/>
                <a:gd name="connsiteX2" fmla="*/ 970231 w 970231"/>
                <a:gd name="connsiteY2" fmla="*/ 1699636 h 1699636"/>
                <a:gd name="connsiteX3" fmla="*/ 0 w 970231"/>
                <a:gd name="connsiteY3" fmla="*/ 1232911 h 1699636"/>
                <a:gd name="connsiteX4" fmla="*/ 0 w 970231"/>
                <a:gd name="connsiteY4" fmla="*/ 0 h 1699636"/>
                <a:gd name="connsiteX0" fmla="*/ 0 w 970231"/>
                <a:gd name="connsiteY0" fmla="*/ 0 h 1652011"/>
                <a:gd name="connsiteX1" fmla="*/ 960706 w 970231"/>
                <a:gd name="connsiteY1" fmla="*/ 0 h 1652011"/>
                <a:gd name="connsiteX2" fmla="*/ 970231 w 970231"/>
                <a:gd name="connsiteY2" fmla="*/ 1652011 h 1652011"/>
                <a:gd name="connsiteX3" fmla="*/ 0 w 970231"/>
                <a:gd name="connsiteY3" fmla="*/ 1232911 h 1652011"/>
                <a:gd name="connsiteX4" fmla="*/ 0 w 970231"/>
                <a:gd name="connsiteY4" fmla="*/ 0 h 1652011"/>
                <a:gd name="connsiteX0" fmla="*/ 0 w 975455"/>
                <a:gd name="connsiteY0" fmla="*/ 0 h 1688474"/>
                <a:gd name="connsiteX1" fmla="*/ 960706 w 975455"/>
                <a:gd name="connsiteY1" fmla="*/ 0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0 w 975455"/>
                <a:gd name="connsiteY3" fmla="*/ 1232911 h 1688474"/>
                <a:gd name="connsiteX4" fmla="*/ 0 w 975455"/>
                <a:gd name="connsiteY4" fmla="*/ 0 h 1688474"/>
                <a:gd name="connsiteX0" fmla="*/ 0 w 975455"/>
                <a:gd name="connsiteY0" fmla="*/ 0 h 1688474"/>
                <a:gd name="connsiteX1" fmla="*/ 968542 w 975455"/>
                <a:gd name="connsiteY1" fmla="*/ 2805 h 1688474"/>
                <a:gd name="connsiteX2" fmla="*/ 975455 w 975455"/>
                <a:gd name="connsiteY2" fmla="*/ 1688474 h 1688474"/>
                <a:gd name="connsiteX3" fmla="*/ 11474 w 975455"/>
                <a:gd name="connsiteY3" fmla="*/ 1087479 h 1688474"/>
                <a:gd name="connsiteX4" fmla="*/ 0 w 975455"/>
                <a:gd name="connsiteY4" fmla="*/ 0 h 168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55" h="1688474">
                  <a:moveTo>
                    <a:pt x="0" y="0"/>
                  </a:moveTo>
                  <a:lnTo>
                    <a:pt x="968542" y="2805"/>
                  </a:lnTo>
                  <a:cubicBezTo>
                    <a:pt x="970846" y="564695"/>
                    <a:pt x="973151" y="1126584"/>
                    <a:pt x="975455" y="1688474"/>
                  </a:cubicBezTo>
                  <a:lnTo>
                    <a:pt x="11474" y="1087479"/>
                  </a:lnTo>
                  <a:lnTo>
                    <a:pt x="0" y="0"/>
                  </a:lnTo>
                  <a:close/>
                </a:path>
              </a:pathLst>
            </a:custGeom>
            <a:gradFill flip="none" rotWithShape="1">
              <a:gsLst>
                <a:gs pos="0">
                  <a:srgbClr val="000608">
                    <a:alpha val="0"/>
                  </a:srgbClr>
                </a:gs>
                <a:gs pos="100000">
                  <a:schemeClr val="accent1">
                    <a:lumMod val="75000"/>
                    <a:alpha val="41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cxnSp>
        <p:nvCxnSpPr>
          <p:cNvPr id="402" name="Elbow Connector 401"/>
          <p:cNvCxnSpPr>
            <a:stCxn id="502" idx="1"/>
            <a:endCxn id="634" idx="1"/>
          </p:cNvCxnSpPr>
          <p:nvPr/>
        </p:nvCxnSpPr>
        <p:spPr>
          <a:xfrm rot="10800000">
            <a:off x="2833729" y="2288784"/>
            <a:ext cx="291387" cy="594116"/>
          </a:xfrm>
          <a:prstGeom prst="bentConnector3">
            <a:avLst>
              <a:gd name="adj1" fmla="val 50000"/>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17" name="Group 416"/>
          <p:cNvGrpSpPr/>
          <p:nvPr/>
        </p:nvGrpSpPr>
        <p:grpSpPr>
          <a:xfrm>
            <a:off x="7620706" y="3224093"/>
            <a:ext cx="663050" cy="1083312"/>
            <a:chOff x="9350678" y="2935671"/>
            <a:chExt cx="802290" cy="1310807"/>
          </a:xfrm>
        </p:grpSpPr>
        <p:sp>
          <p:nvSpPr>
            <p:cNvPr id="422" name="Rectangle 421"/>
            <p:cNvSpPr/>
            <p:nvPr/>
          </p:nvSpPr>
          <p:spPr bwMode="auto">
            <a:xfrm>
              <a:off x="9358876" y="3527663"/>
              <a:ext cx="794092" cy="643345"/>
            </a:xfrm>
            <a:prstGeom prst="rect">
              <a:avLst/>
            </a:prstGeom>
            <a:solidFill>
              <a:srgbClr val="0081A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24" name="Oval 423"/>
            <p:cNvSpPr/>
            <p:nvPr/>
          </p:nvSpPr>
          <p:spPr bwMode="auto">
            <a:xfrm>
              <a:off x="9365786" y="3445990"/>
              <a:ext cx="785459" cy="18171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26" name="Rounded Rectangle 425"/>
            <p:cNvSpPr/>
            <p:nvPr/>
          </p:nvSpPr>
          <p:spPr bwMode="auto">
            <a:xfrm>
              <a:off x="9713918" y="3079881"/>
              <a:ext cx="79493" cy="467307"/>
            </a:xfrm>
            <a:prstGeom prst="roundRect">
              <a:avLst>
                <a:gd name="adj" fmla="val 31237"/>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28" name="Oval 766"/>
            <p:cNvSpPr/>
            <p:nvPr/>
          </p:nvSpPr>
          <p:spPr bwMode="auto">
            <a:xfrm>
              <a:off x="9355904" y="3026528"/>
              <a:ext cx="786599" cy="1219950"/>
            </a:xfrm>
            <a:custGeom>
              <a:avLst/>
              <a:gdLst/>
              <a:ahLst/>
              <a:cxnLst/>
              <a:rect l="l" t="t" r="r" b="b"/>
              <a:pathLst>
                <a:path w="908384" h="1395535">
                  <a:moveTo>
                    <a:pt x="0" y="0"/>
                  </a:moveTo>
                  <a:lnTo>
                    <a:pt x="908384" y="0"/>
                  </a:lnTo>
                  <a:lnTo>
                    <a:pt x="908384" y="1296173"/>
                  </a:lnTo>
                  <a:lnTo>
                    <a:pt x="901456" y="1296173"/>
                  </a:lnTo>
                  <a:cubicBezTo>
                    <a:pt x="891964" y="1351613"/>
                    <a:pt x="695250" y="1395535"/>
                    <a:pt x="454193" y="1395535"/>
                  </a:cubicBezTo>
                  <a:cubicBezTo>
                    <a:pt x="213136" y="1395535"/>
                    <a:pt x="16422" y="1351613"/>
                    <a:pt x="6930" y="1296173"/>
                  </a:cubicBezTo>
                  <a:lnTo>
                    <a:pt x="0" y="1296173"/>
                  </a:lnTo>
                  <a:close/>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29" name="Rectangle 428"/>
            <p:cNvSpPr/>
            <p:nvPr/>
          </p:nvSpPr>
          <p:spPr bwMode="auto">
            <a:xfrm>
              <a:off x="9713796" y="3636322"/>
              <a:ext cx="84639" cy="239805"/>
            </a:xfrm>
            <a:prstGeom prst="rect">
              <a:avLst/>
            </a:prstGeom>
            <a:solidFill>
              <a:srgbClr val="0070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30" name="Oval 429"/>
            <p:cNvSpPr/>
            <p:nvPr/>
          </p:nvSpPr>
          <p:spPr bwMode="auto">
            <a:xfrm>
              <a:off x="9371157" y="4056260"/>
              <a:ext cx="758503" cy="181713"/>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31" name="Oval 430"/>
            <p:cNvSpPr/>
            <p:nvPr/>
          </p:nvSpPr>
          <p:spPr bwMode="auto">
            <a:xfrm>
              <a:off x="9350678" y="2935671"/>
              <a:ext cx="795544" cy="181713"/>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432" name="Rectangle 431"/>
          <p:cNvSpPr/>
          <p:nvPr/>
        </p:nvSpPr>
        <p:spPr bwMode="auto">
          <a:xfrm>
            <a:off x="6478388" y="2927992"/>
            <a:ext cx="294262" cy="514072"/>
          </a:xfrm>
          <a:prstGeom prst="rect">
            <a:avLst/>
          </a:prstGeom>
          <a:solidFill>
            <a:srgbClr val="1B3B41"/>
          </a:solidFill>
          <a:ln>
            <a:noFill/>
            <a:headEnd type="none" w="med" len="med"/>
            <a:tailEnd type="none" w="med" len="med"/>
          </a:ln>
          <a:effectLst/>
          <a:scene3d>
            <a:camera prst="isometricOffAxis1Lef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33" name="Flowchart: Data 687"/>
          <p:cNvSpPr/>
          <p:nvPr/>
        </p:nvSpPr>
        <p:spPr bwMode="auto">
          <a:xfrm flipH="1">
            <a:off x="3102459" y="3992322"/>
            <a:ext cx="1051834" cy="17816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1725"/>
              <a:gd name="connsiteX1" fmla="*/ 2000 w 10000"/>
              <a:gd name="connsiteY1" fmla="*/ 0 h 11725"/>
              <a:gd name="connsiteX2" fmla="*/ 10000 w 10000"/>
              <a:gd name="connsiteY2" fmla="*/ 0 h 11725"/>
              <a:gd name="connsiteX3" fmla="*/ 9771 w 10000"/>
              <a:gd name="connsiteY3" fmla="*/ 11725 h 11725"/>
              <a:gd name="connsiteX4" fmla="*/ 0 w 10000"/>
              <a:gd name="connsiteY4" fmla="*/ 10000 h 11725"/>
              <a:gd name="connsiteX0" fmla="*/ 0 w 10000"/>
              <a:gd name="connsiteY0" fmla="*/ 10000 h 10000"/>
              <a:gd name="connsiteX1" fmla="*/ 2000 w 10000"/>
              <a:gd name="connsiteY1" fmla="*/ 0 h 10000"/>
              <a:gd name="connsiteX2" fmla="*/ 10000 w 10000"/>
              <a:gd name="connsiteY2" fmla="*/ 0 h 10000"/>
              <a:gd name="connsiteX3" fmla="*/ 9860 w 10000"/>
              <a:gd name="connsiteY3" fmla="*/ 10000 h 10000"/>
              <a:gd name="connsiteX4" fmla="*/ 0 w 10000"/>
              <a:gd name="connsiteY4" fmla="*/ 10000 h 10000"/>
              <a:gd name="connsiteX0" fmla="*/ 0 w 10000"/>
              <a:gd name="connsiteY0" fmla="*/ 10000 h 10000"/>
              <a:gd name="connsiteX1" fmla="*/ 672 w 10000"/>
              <a:gd name="connsiteY1" fmla="*/ 0 h 10000"/>
              <a:gd name="connsiteX2" fmla="*/ 10000 w 10000"/>
              <a:gd name="connsiteY2" fmla="*/ 0 h 10000"/>
              <a:gd name="connsiteX3" fmla="*/ 9860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672" y="0"/>
                </a:lnTo>
                <a:lnTo>
                  <a:pt x="10000" y="0"/>
                </a:lnTo>
                <a:cubicBezTo>
                  <a:pt x="9924" y="3908"/>
                  <a:pt x="9936" y="6092"/>
                  <a:pt x="9860" y="10000"/>
                </a:cubicBezTo>
                <a:lnTo>
                  <a:pt x="0" y="10000"/>
                </a:lnTo>
                <a:close/>
              </a:path>
            </a:pathLst>
          </a:cu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34" name="Rectangle 433"/>
          <p:cNvSpPr/>
          <p:nvPr/>
        </p:nvSpPr>
        <p:spPr bwMode="auto">
          <a:xfrm>
            <a:off x="1156299" y="3122699"/>
            <a:ext cx="75633" cy="759013"/>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a:solidFill>
                <a:srgbClr val="FFFFFF"/>
              </a:solidFill>
            </a:endParaRPr>
          </a:p>
        </p:txBody>
      </p:sp>
      <p:sp>
        <p:nvSpPr>
          <p:cNvPr id="435" name="Flowchart: Data 775"/>
          <p:cNvSpPr/>
          <p:nvPr/>
        </p:nvSpPr>
        <p:spPr bwMode="auto">
          <a:xfrm flipH="1">
            <a:off x="4186541" y="5646041"/>
            <a:ext cx="1953306" cy="62064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254"/>
              <a:gd name="connsiteX1" fmla="*/ 2000 w 10000"/>
              <a:gd name="connsiteY1" fmla="*/ 0 h 10254"/>
              <a:gd name="connsiteX2" fmla="*/ 10000 w 10000"/>
              <a:gd name="connsiteY2" fmla="*/ 0 h 10254"/>
              <a:gd name="connsiteX3" fmla="*/ 9274 w 10000"/>
              <a:gd name="connsiteY3" fmla="*/ 10254 h 10254"/>
              <a:gd name="connsiteX4" fmla="*/ 0 w 10000"/>
              <a:gd name="connsiteY4" fmla="*/ 10000 h 10254"/>
              <a:gd name="connsiteX0" fmla="*/ 0 w 10033"/>
              <a:gd name="connsiteY0" fmla="*/ 10127 h 10254"/>
              <a:gd name="connsiteX1" fmla="*/ 2033 w 10033"/>
              <a:gd name="connsiteY1" fmla="*/ 0 h 10254"/>
              <a:gd name="connsiteX2" fmla="*/ 10033 w 10033"/>
              <a:gd name="connsiteY2" fmla="*/ 0 h 10254"/>
              <a:gd name="connsiteX3" fmla="*/ 9307 w 10033"/>
              <a:gd name="connsiteY3" fmla="*/ 10254 h 10254"/>
              <a:gd name="connsiteX4" fmla="*/ 0 w 10033"/>
              <a:gd name="connsiteY4" fmla="*/ 10127 h 10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 h="10254">
                <a:moveTo>
                  <a:pt x="0" y="10127"/>
                </a:moveTo>
                <a:lnTo>
                  <a:pt x="2033" y="0"/>
                </a:lnTo>
                <a:lnTo>
                  <a:pt x="10033" y="0"/>
                </a:lnTo>
                <a:lnTo>
                  <a:pt x="9307" y="10254"/>
                </a:lnTo>
                <a:lnTo>
                  <a:pt x="0" y="10127"/>
                </a:lnTo>
                <a:close/>
              </a:path>
            </a:pathLst>
          </a:cu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436" name="Group 435"/>
          <p:cNvGrpSpPr/>
          <p:nvPr/>
        </p:nvGrpSpPr>
        <p:grpSpPr>
          <a:xfrm>
            <a:off x="209887" y="2258507"/>
            <a:ext cx="432424" cy="558569"/>
            <a:chOff x="6178987" y="1083053"/>
            <a:chExt cx="2106470" cy="2151434"/>
          </a:xfrm>
          <a:solidFill>
            <a:schemeClr val="bg1">
              <a:alpha val="20000"/>
            </a:schemeClr>
          </a:solidFill>
          <a:scene3d>
            <a:camera prst="isometricOffAxis2Right"/>
            <a:lightRig rig="threePt" dir="t"/>
          </a:scene3d>
        </p:grpSpPr>
        <p:sp>
          <p:nvSpPr>
            <p:cNvPr id="437" name="Rectangle 436"/>
            <p:cNvSpPr/>
            <p:nvPr/>
          </p:nvSpPr>
          <p:spPr bwMode="auto">
            <a:xfrm>
              <a:off x="6178987"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38" name="Rectangle 437"/>
            <p:cNvSpPr/>
            <p:nvPr/>
          </p:nvSpPr>
          <p:spPr bwMode="auto">
            <a:xfrm>
              <a:off x="7297638"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39" name="Rectangle 438"/>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40" name="Rectangle 439"/>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441" name="Rectangle 440"/>
          <p:cNvSpPr/>
          <p:nvPr/>
        </p:nvSpPr>
        <p:spPr bwMode="auto">
          <a:xfrm>
            <a:off x="805959" y="3711689"/>
            <a:ext cx="3488460" cy="200180"/>
          </a:xfrm>
          <a:prstGeom prst="rect">
            <a:avLst/>
          </a:pr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42" name="Rounded Rectangle 441"/>
          <p:cNvSpPr/>
          <p:nvPr/>
        </p:nvSpPr>
        <p:spPr bwMode="auto">
          <a:xfrm>
            <a:off x="728259" y="3654867"/>
            <a:ext cx="3566160" cy="86371"/>
          </a:xfrm>
          <a:prstGeom prst="roundRect">
            <a:avLst>
              <a:gd name="adj" fmla="val 50000"/>
            </a:avLst>
          </a:prstGeom>
          <a:solidFill>
            <a:srgbClr val="0048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43" name="Oval 5"/>
          <p:cNvSpPr/>
          <p:nvPr/>
        </p:nvSpPr>
        <p:spPr bwMode="auto">
          <a:xfrm>
            <a:off x="3102155" y="4443558"/>
            <a:ext cx="311817" cy="277692"/>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45" name="Oval 5"/>
          <p:cNvSpPr/>
          <p:nvPr/>
        </p:nvSpPr>
        <p:spPr bwMode="auto">
          <a:xfrm>
            <a:off x="5024269" y="3104623"/>
            <a:ext cx="193223" cy="172077"/>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47" name="Rectangle 446"/>
          <p:cNvSpPr/>
          <p:nvPr/>
        </p:nvSpPr>
        <p:spPr>
          <a:xfrm>
            <a:off x="1190616" y="1491335"/>
            <a:ext cx="1798890" cy="261610"/>
          </a:xfrm>
          <a:prstGeom prst="rect">
            <a:avLst/>
          </a:prstGeom>
        </p:spPr>
        <p:txBody>
          <a:bodyPr wrap="none">
            <a:spAutoFit/>
          </a:bodyPr>
          <a:lstStyle/>
          <a:p>
            <a:r>
              <a:rPr lang="en-US" sz="1100" dirty="0">
                <a:solidFill>
                  <a:srgbClr val="FFFFFF"/>
                </a:solidFill>
              </a:rPr>
              <a:t>MANUFACTURING PLANT</a:t>
            </a:r>
          </a:p>
        </p:txBody>
      </p:sp>
      <p:sp>
        <p:nvSpPr>
          <p:cNvPr id="448" name="Trapezoid 447"/>
          <p:cNvSpPr/>
          <p:nvPr/>
        </p:nvSpPr>
        <p:spPr bwMode="auto">
          <a:xfrm>
            <a:off x="755938" y="3519863"/>
            <a:ext cx="3801559" cy="131286"/>
          </a:xfrm>
          <a:prstGeom prst="trapezoid">
            <a:avLst>
              <a:gd name="adj" fmla="val 165124"/>
            </a:avLst>
          </a:pr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49" name="Oval 5"/>
          <p:cNvSpPr/>
          <p:nvPr/>
        </p:nvSpPr>
        <p:spPr bwMode="auto">
          <a:xfrm>
            <a:off x="3502609" y="4440865"/>
            <a:ext cx="288971" cy="28308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50" name="Group 449"/>
          <p:cNvGrpSpPr/>
          <p:nvPr/>
        </p:nvGrpSpPr>
        <p:grpSpPr>
          <a:xfrm>
            <a:off x="742542" y="3661922"/>
            <a:ext cx="3443046" cy="67574"/>
            <a:chOff x="2542423" y="3659019"/>
            <a:chExt cx="3443046" cy="67574"/>
          </a:xfrm>
        </p:grpSpPr>
        <p:sp>
          <p:nvSpPr>
            <p:cNvPr id="451" name="Oval 450"/>
            <p:cNvSpPr/>
            <p:nvPr/>
          </p:nvSpPr>
          <p:spPr bwMode="auto">
            <a:xfrm>
              <a:off x="254242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52" name="Oval 451"/>
            <p:cNvSpPr/>
            <p:nvPr/>
          </p:nvSpPr>
          <p:spPr bwMode="auto">
            <a:xfrm>
              <a:off x="276773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53" name="Oval 452"/>
            <p:cNvSpPr/>
            <p:nvPr/>
          </p:nvSpPr>
          <p:spPr bwMode="auto">
            <a:xfrm>
              <a:off x="299303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54" name="Oval 453"/>
            <p:cNvSpPr/>
            <p:nvPr/>
          </p:nvSpPr>
          <p:spPr bwMode="auto">
            <a:xfrm>
              <a:off x="321834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56" name="Oval 455"/>
            <p:cNvSpPr/>
            <p:nvPr/>
          </p:nvSpPr>
          <p:spPr bwMode="auto">
            <a:xfrm>
              <a:off x="344365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58" name="Oval 457"/>
            <p:cNvSpPr/>
            <p:nvPr/>
          </p:nvSpPr>
          <p:spPr bwMode="auto">
            <a:xfrm>
              <a:off x="366896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59" name="Oval 458"/>
            <p:cNvSpPr/>
            <p:nvPr/>
          </p:nvSpPr>
          <p:spPr bwMode="auto">
            <a:xfrm>
              <a:off x="389427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0" name="Oval 459"/>
            <p:cNvSpPr/>
            <p:nvPr/>
          </p:nvSpPr>
          <p:spPr bwMode="auto">
            <a:xfrm>
              <a:off x="411957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1" name="Oval 460"/>
            <p:cNvSpPr/>
            <p:nvPr/>
          </p:nvSpPr>
          <p:spPr bwMode="auto">
            <a:xfrm>
              <a:off x="434488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2" name="Oval 461"/>
            <p:cNvSpPr/>
            <p:nvPr/>
          </p:nvSpPr>
          <p:spPr bwMode="auto">
            <a:xfrm>
              <a:off x="457019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3" name="Oval 462"/>
            <p:cNvSpPr/>
            <p:nvPr/>
          </p:nvSpPr>
          <p:spPr bwMode="auto">
            <a:xfrm>
              <a:off x="479550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4" name="Oval 463"/>
            <p:cNvSpPr/>
            <p:nvPr/>
          </p:nvSpPr>
          <p:spPr bwMode="auto">
            <a:xfrm>
              <a:off x="502081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5" name="Oval 464"/>
            <p:cNvSpPr/>
            <p:nvPr/>
          </p:nvSpPr>
          <p:spPr bwMode="auto">
            <a:xfrm>
              <a:off x="524611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66" name="Oval 465"/>
            <p:cNvSpPr/>
            <p:nvPr/>
          </p:nvSpPr>
          <p:spPr bwMode="auto">
            <a:xfrm>
              <a:off x="547142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0" name="Oval 469"/>
            <p:cNvSpPr/>
            <p:nvPr/>
          </p:nvSpPr>
          <p:spPr bwMode="auto">
            <a:xfrm>
              <a:off x="569673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1" name="Oval 470"/>
            <p:cNvSpPr/>
            <p:nvPr/>
          </p:nvSpPr>
          <p:spPr bwMode="auto">
            <a:xfrm>
              <a:off x="5922052"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2" name="Oval 471"/>
            <p:cNvSpPr/>
            <p:nvPr/>
          </p:nvSpPr>
          <p:spPr bwMode="auto">
            <a:xfrm>
              <a:off x="265507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4" name="Oval 473"/>
            <p:cNvSpPr/>
            <p:nvPr/>
          </p:nvSpPr>
          <p:spPr bwMode="auto">
            <a:xfrm>
              <a:off x="288038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6" name="Oval 475"/>
            <p:cNvSpPr/>
            <p:nvPr/>
          </p:nvSpPr>
          <p:spPr bwMode="auto">
            <a:xfrm>
              <a:off x="310569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7" name="Oval 476"/>
            <p:cNvSpPr/>
            <p:nvPr/>
          </p:nvSpPr>
          <p:spPr bwMode="auto">
            <a:xfrm>
              <a:off x="333100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8" name="Oval 477"/>
            <p:cNvSpPr/>
            <p:nvPr/>
          </p:nvSpPr>
          <p:spPr bwMode="auto">
            <a:xfrm>
              <a:off x="355630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79" name="Oval 478"/>
            <p:cNvSpPr/>
            <p:nvPr/>
          </p:nvSpPr>
          <p:spPr bwMode="auto">
            <a:xfrm>
              <a:off x="378161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80" name="Oval 479"/>
            <p:cNvSpPr/>
            <p:nvPr/>
          </p:nvSpPr>
          <p:spPr bwMode="auto">
            <a:xfrm>
              <a:off x="400692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89" name="Oval 488"/>
            <p:cNvSpPr/>
            <p:nvPr/>
          </p:nvSpPr>
          <p:spPr bwMode="auto">
            <a:xfrm>
              <a:off x="423223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94" name="Oval 493"/>
            <p:cNvSpPr/>
            <p:nvPr/>
          </p:nvSpPr>
          <p:spPr bwMode="auto">
            <a:xfrm>
              <a:off x="445754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96" name="Oval 495"/>
            <p:cNvSpPr/>
            <p:nvPr/>
          </p:nvSpPr>
          <p:spPr bwMode="auto">
            <a:xfrm>
              <a:off x="468284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97" name="Oval 496"/>
            <p:cNvSpPr/>
            <p:nvPr/>
          </p:nvSpPr>
          <p:spPr bwMode="auto">
            <a:xfrm>
              <a:off x="4908157"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98" name="Oval 497"/>
            <p:cNvSpPr/>
            <p:nvPr/>
          </p:nvSpPr>
          <p:spPr bwMode="auto">
            <a:xfrm>
              <a:off x="5133465"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499" name="Oval 498"/>
            <p:cNvSpPr/>
            <p:nvPr/>
          </p:nvSpPr>
          <p:spPr bwMode="auto">
            <a:xfrm>
              <a:off x="5358773"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00" name="Oval 499"/>
            <p:cNvSpPr/>
            <p:nvPr/>
          </p:nvSpPr>
          <p:spPr bwMode="auto">
            <a:xfrm>
              <a:off x="5584081"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01" name="Oval 500"/>
            <p:cNvSpPr/>
            <p:nvPr/>
          </p:nvSpPr>
          <p:spPr bwMode="auto">
            <a:xfrm>
              <a:off x="5809389" y="3659019"/>
              <a:ext cx="63417" cy="67574"/>
            </a:xfrm>
            <a:prstGeom prst="ellipse">
              <a:avLst/>
            </a:prstGeom>
            <a:noFill/>
            <a:ln>
              <a:solidFill>
                <a:srgbClr val="5F8A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502" name="Rectangle 501"/>
          <p:cNvSpPr/>
          <p:nvPr/>
        </p:nvSpPr>
        <p:spPr bwMode="auto">
          <a:xfrm>
            <a:off x="3125115" y="2682076"/>
            <a:ext cx="349337" cy="401648"/>
          </a:xfrm>
          <a:prstGeom prst="rect">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503" name="Group 502"/>
          <p:cNvGrpSpPr/>
          <p:nvPr/>
        </p:nvGrpSpPr>
        <p:grpSpPr>
          <a:xfrm>
            <a:off x="3460343" y="3571943"/>
            <a:ext cx="272918" cy="516156"/>
            <a:chOff x="2431514" y="2279062"/>
            <a:chExt cx="531840" cy="1005842"/>
          </a:xfrm>
        </p:grpSpPr>
        <p:sp>
          <p:nvSpPr>
            <p:cNvPr id="504" name="Rectangle 503"/>
            <p:cNvSpPr/>
            <p:nvPr/>
          </p:nvSpPr>
          <p:spPr bwMode="auto">
            <a:xfrm>
              <a:off x="2514941" y="2335996"/>
              <a:ext cx="361323" cy="422149"/>
            </a:xfrm>
            <a:prstGeom prst="rect">
              <a:avLst/>
            </a:prstGeom>
            <a:solidFill>
              <a:srgbClr val="29411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08" name="Rounded Rectangle 4"/>
            <p:cNvSpPr>
              <a:spLocks noChangeAspect="1"/>
            </p:cNvSpPr>
            <p:nvPr/>
          </p:nvSpPr>
          <p:spPr bwMode="auto">
            <a:xfrm>
              <a:off x="2431514" y="2279062"/>
              <a:ext cx="531840" cy="1005842"/>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rgbClr val="78AA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09" name="Group 508"/>
          <p:cNvGrpSpPr/>
          <p:nvPr/>
        </p:nvGrpSpPr>
        <p:grpSpPr>
          <a:xfrm>
            <a:off x="3554682" y="3640726"/>
            <a:ext cx="88262" cy="88240"/>
            <a:chOff x="10188397" y="2479330"/>
            <a:chExt cx="302040" cy="301962"/>
          </a:xfrm>
          <a:solidFill>
            <a:srgbClr val="8DC548"/>
          </a:solidFill>
        </p:grpSpPr>
        <p:sp>
          <p:nvSpPr>
            <p:cNvPr id="510" name="Freeform 101"/>
            <p:cNvSpPr>
              <a:spLocks noEditPoints="1"/>
            </p:cNvSpPr>
            <p:nvPr/>
          </p:nvSpPr>
          <p:spPr bwMode="black">
            <a:xfrm>
              <a:off x="10188397" y="2479330"/>
              <a:ext cx="302040" cy="301962"/>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400">
                <a:solidFill>
                  <a:srgbClr val="000000"/>
                </a:solidFill>
              </a:endParaRPr>
            </a:p>
          </p:txBody>
        </p:sp>
        <p:sp>
          <p:nvSpPr>
            <p:cNvPr id="511" name="Freeform 102"/>
            <p:cNvSpPr>
              <a:spLocks/>
            </p:cNvSpPr>
            <p:nvPr/>
          </p:nvSpPr>
          <p:spPr bwMode="black">
            <a:xfrm>
              <a:off x="10327738" y="2561646"/>
              <a:ext cx="33648" cy="94586"/>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p>
              <a:endParaRPr lang="en-US" sz="1400">
                <a:solidFill>
                  <a:srgbClr val="000000"/>
                </a:solidFill>
              </a:endParaRPr>
            </a:p>
          </p:txBody>
        </p:sp>
        <p:sp>
          <p:nvSpPr>
            <p:cNvPr id="512" name="Rectangle 103"/>
            <p:cNvSpPr>
              <a:spLocks noChangeArrowheads="1"/>
            </p:cNvSpPr>
            <p:nvPr/>
          </p:nvSpPr>
          <p:spPr bwMode="black">
            <a:xfrm>
              <a:off x="10325759" y="2666521"/>
              <a:ext cx="37607" cy="36409"/>
            </a:xfrm>
            <a:prstGeom prst="rect">
              <a:avLst/>
            </a:prstGeom>
            <a:grpFill/>
            <a:ln>
              <a:noFill/>
            </a:ln>
          </p:spPr>
          <p:txBody>
            <a:bodyPr vert="horz" wrap="square" lIns="82305" tIns="41153" rIns="82305" bIns="41153" numCol="1" anchor="t" anchorCtr="0" compatLnSpc="1">
              <a:prstTxWarp prst="textNoShape">
                <a:avLst/>
              </a:prstTxWarp>
            </a:bodyPr>
            <a:lstStyle/>
            <a:p>
              <a:endParaRPr lang="en-US" sz="1400">
                <a:solidFill>
                  <a:srgbClr val="000000"/>
                </a:solidFill>
              </a:endParaRPr>
            </a:p>
          </p:txBody>
        </p:sp>
      </p:grpSp>
      <p:cxnSp>
        <p:nvCxnSpPr>
          <p:cNvPr id="514" name="Elbow Connector 513"/>
          <p:cNvCxnSpPr>
            <a:endCxn id="502" idx="3"/>
          </p:cNvCxnSpPr>
          <p:nvPr/>
        </p:nvCxnSpPr>
        <p:spPr>
          <a:xfrm rot="16200000" flipV="1">
            <a:off x="3192864" y="3164490"/>
            <a:ext cx="689043" cy="125865"/>
          </a:xfrm>
          <a:prstGeom prst="bentConnector2">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17" name="Group 516"/>
          <p:cNvGrpSpPr/>
          <p:nvPr/>
        </p:nvGrpSpPr>
        <p:grpSpPr>
          <a:xfrm>
            <a:off x="3161415" y="2733749"/>
            <a:ext cx="267478" cy="346658"/>
            <a:chOff x="3552856" y="1167295"/>
            <a:chExt cx="521240" cy="675539"/>
          </a:xfrm>
        </p:grpSpPr>
        <p:sp>
          <p:nvSpPr>
            <p:cNvPr id="518" name="Rectangle 517"/>
            <p:cNvSpPr/>
            <p:nvPr/>
          </p:nvSpPr>
          <p:spPr bwMode="auto">
            <a:xfrm>
              <a:off x="3682167" y="1256658"/>
              <a:ext cx="281359" cy="293535"/>
            </a:xfrm>
            <a:prstGeom prst="rect">
              <a:avLst/>
            </a:prstGeom>
            <a:solidFill>
              <a:srgbClr val="29411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519" name="Group 518"/>
            <p:cNvGrpSpPr/>
            <p:nvPr/>
          </p:nvGrpSpPr>
          <p:grpSpPr>
            <a:xfrm>
              <a:off x="3552856" y="1167295"/>
              <a:ext cx="521240" cy="675539"/>
              <a:chOff x="3581886" y="1135362"/>
              <a:chExt cx="521240" cy="675539"/>
            </a:xfrm>
          </p:grpSpPr>
          <p:sp>
            <p:nvSpPr>
              <p:cNvPr id="524" name="Rectangle 59"/>
              <p:cNvSpPr/>
              <p:nvPr/>
            </p:nvSpPr>
            <p:spPr bwMode="auto">
              <a:xfrm>
                <a:off x="3581886" y="1135362"/>
                <a:ext cx="521240" cy="675539"/>
              </a:xfrm>
              <a:custGeom>
                <a:avLst/>
                <a:gdLst/>
                <a:ahLst/>
                <a:cxnLst/>
                <a:rect l="l" t="t" r="r" b="b"/>
                <a:pathLst>
                  <a:path w="1330900" h="1724876">
                    <a:moveTo>
                      <a:pt x="0" y="1370500"/>
                    </a:moveTo>
                    <a:lnTo>
                      <a:pt x="749813" y="1457869"/>
                    </a:lnTo>
                    <a:cubicBezTo>
                      <a:pt x="750362" y="1484968"/>
                      <a:pt x="751746" y="1531228"/>
                      <a:pt x="752295" y="1558327"/>
                    </a:cubicBezTo>
                    <a:lnTo>
                      <a:pt x="10134" y="1453480"/>
                    </a:lnTo>
                    <a:close/>
                    <a:moveTo>
                      <a:pt x="974149" y="1337212"/>
                    </a:moveTo>
                    <a:cubicBezTo>
                      <a:pt x="974302" y="1371103"/>
                      <a:pt x="974455" y="1404993"/>
                      <a:pt x="974608" y="1438884"/>
                    </a:cubicBezTo>
                    <a:lnTo>
                      <a:pt x="761535" y="1554426"/>
                    </a:lnTo>
                    <a:cubicBezTo>
                      <a:pt x="762084" y="1527327"/>
                      <a:pt x="759538" y="1484949"/>
                      <a:pt x="760087" y="1457849"/>
                    </a:cubicBezTo>
                    <a:close/>
                    <a:moveTo>
                      <a:pt x="232082" y="1272747"/>
                    </a:moveTo>
                    <a:lnTo>
                      <a:pt x="965544" y="1334571"/>
                    </a:lnTo>
                    <a:lnTo>
                      <a:pt x="755406" y="1451661"/>
                    </a:lnTo>
                    <a:lnTo>
                      <a:pt x="7410" y="1362490"/>
                    </a:lnTo>
                    <a:close/>
                    <a:moveTo>
                      <a:pt x="1051563" y="289402"/>
                    </a:moveTo>
                    <a:lnTo>
                      <a:pt x="438156" y="341569"/>
                    </a:lnTo>
                    <a:lnTo>
                      <a:pt x="354664" y="900264"/>
                    </a:lnTo>
                    <a:lnTo>
                      <a:pt x="968072" y="888484"/>
                    </a:lnTo>
                    <a:close/>
                    <a:moveTo>
                      <a:pt x="1249536" y="71477"/>
                    </a:moveTo>
                    <a:lnTo>
                      <a:pt x="1330900" y="134646"/>
                    </a:lnTo>
                    <a:lnTo>
                      <a:pt x="1161901" y="1724876"/>
                    </a:lnTo>
                    <a:lnTo>
                      <a:pt x="1025375" y="1724876"/>
                    </a:lnTo>
                    <a:cubicBezTo>
                      <a:pt x="1076551" y="1182290"/>
                      <a:pt x="1156816" y="636961"/>
                      <a:pt x="1249536" y="71477"/>
                    </a:cubicBezTo>
                    <a:close/>
                    <a:moveTo>
                      <a:pt x="1270517" y="0"/>
                    </a:moveTo>
                    <a:cubicBezTo>
                      <a:pt x="1237712" y="66785"/>
                      <a:pt x="1239219" y="63859"/>
                      <a:pt x="1236639" y="79612"/>
                    </a:cubicBezTo>
                    <a:cubicBezTo>
                      <a:pt x="1177780" y="376370"/>
                      <a:pt x="1074422" y="1035863"/>
                      <a:pt x="1006324" y="1724876"/>
                    </a:cubicBezTo>
                    <a:lnTo>
                      <a:pt x="129779" y="1724876"/>
                    </a:lnTo>
                    <a:cubicBezTo>
                      <a:pt x="134810" y="1642838"/>
                      <a:pt x="143489" y="1561634"/>
                      <a:pt x="152869" y="1480487"/>
                    </a:cubicBezTo>
                    <a:lnTo>
                      <a:pt x="759172" y="1563461"/>
                    </a:lnTo>
                    <a:lnTo>
                      <a:pt x="987167" y="1434545"/>
                    </a:lnTo>
                    <a:lnTo>
                      <a:pt x="990648" y="1326256"/>
                    </a:lnTo>
                    <a:lnTo>
                      <a:pt x="224862" y="1260939"/>
                    </a:lnTo>
                    <a:lnTo>
                      <a:pt x="176915" y="1281656"/>
                    </a:lnTo>
                    <a:cubicBezTo>
                      <a:pt x="220006" y="938614"/>
                      <a:pt x="274383" y="589238"/>
                      <a:pt x="332527" y="195284"/>
                    </a:cubicBezTo>
                    <a:cubicBezTo>
                      <a:pt x="346547" y="136030"/>
                      <a:pt x="348191" y="116502"/>
                      <a:pt x="427187" y="101557"/>
                    </a:cubicBezTo>
                    <a:close/>
                  </a:path>
                </a:pathLst>
              </a:cu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25" name="Group 524"/>
              <p:cNvGrpSpPr/>
              <p:nvPr/>
            </p:nvGrpSpPr>
            <p:grpSpPr>
              <a:xfrm rot="338051">
                <a:off x="3758138" y="1306286"/>
                <a:ext cx="96803" cy="160371"/>
                <a:chOff x="3779688" y="1268549"/>
                <a:chExt cx="172086" cy="189399"/>
              </a:xfrm>
              <a:solidFill>
                <a:srgbClr val="8DC548"/>
              </a:solidFill>
              <a:scene3d>
                <a:camera prst="orthographicFront">
                  <a:rot lat="102490" lon="19204199" rev="281991"/>
                </a:camera>
                <a:lightRig rig="threePt" dir="t"/>
              </a:scene3d>
            </p:grpSpPr>
            <p:sp>
              <p:nvSpPr>
                <p:cNvPr id="531" name="Rectangle 530"/>
                <p:cNvSpPr/>
                <p:nvPr/>
              </p:nvSpPr>
              <p:spPr bwMode="auto">
                <a:xfrm>
                  <a:off x="3779688" y="1330110"/>
                  <a:ext cx="45719" cy="1278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32" name="Rectangle 531"/>
                <p:cNvSpPr/>
                <p:nvPr/>
              </p:nvSpPr>
              <p:spPr bwMode="auto">
                <a:xfrm>
                  <a:off x="3842872" y="1268549"/>
                  <a:ext cx="45719" cy="1893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33" name="Rectangle 532"/>
                <p:cNvSpPr/>
                <p:nvPr/>
              </p:nvSpPr>
              <p:spPr bwMode="auto">
                <a:xfrm>
                  <a:off x="3906055" y="1335241"/>
                  <a:ext cx="45719" cy="1227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nvGrpSpPr>
              <p:cNvPr id="526" name="Group 525"/>
              <p:cNvGrpSpPr/>
              <p:nvPr/>
            </p:nvGrpSpPr>
            <p:grpSpPr>
              <a:xfrm rot="338051">
                <a:off x="3847954" y="1385485"/>
                <a:ext cx="96803" cy="80186"/>
                <a:chOff x="3779688" y="1268549"/>
                <a:chExt cx="172086" cy="189399"/>
              </a:xfrm>
              <a:solidFill>
                <a:srgbClr val="8DC548"/>
              </a:solidFill>
              <a:scene3d>
                <a:camera prst="orthographicFront">
                  <a:rot lat="102490" lon="19204199" rev="281991"/>
                </a:camera>
                <a:lightRig rig="threePt" dir="t"/>
              </a:scene3d>
            </p:grpSpPr>
            <p:sp>
              <p:nvSpPr>
                <p:cNvPr id="527" name="Rectangle 526"/>
                <p:cNvSpPr/>
                <p:nvPr/>
              </p:nvSpPr>
              <p:spPr bwMode="auto">
                <a:xfrm>
                  <a:off x="3779688" y="1330110"/>
                  <a:ext cx="45719" cy="12783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28" name="Rectangle 527"/>
                <p:cNvSpPr/>
                <p:nvPr/>
              </p:nvSpPr>
              <p:spPr bwMode="auto">
                <a:xfrm>
                  <a:off x="3842872" y="1268549"/>
                  <a:ext cx="45719" cy="1893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30" name="Rectangle 529"/>
                <p:cNvSpPr/>
                <p:nvPr/>
              </p:nvSpPr>
              <p:spPr bwMode="auto">
                <a:xfrm>
                  <a:off x="3906055" y="1335241"/>
                  <a:ext cx="45719" cy="1227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grpSp>
      <p:sp>
        <p:nvSpPr>
          <p:cNvPr id="545" name="Rectangle 544"/>
          <p:cNvSpPr/>
          <p:nvPr/>
        </p:nvSpPr>
        <p:spPr bwMode="auto">
          <a:xfrm rot="5400000">
            <a:off x="5198972" y="5535575"/>
            <a:ext cx="335854" cy="787638"/>
          </a:xfrm>
          <a:prstGeom prst="rect">
            <a:avLst/>
          </a:pr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47" name="Parallelogram 24"/>
          <p:cNvSpPr/>
          <p:nvPr/>
        </p:nvSpPr>
        <p:spPr bwMode="auto">
          <a:xfrm flipH="1">
            <a:off x="4116815" y="3834164"/>
            <a:ext cx="1608768" cy="2263158"/>
          </a:xfrm>
          <a:custGeom>
            <a:avLst/>
            <a:gdLst>
              <a:gd name="connsiteX0" fmla="*/ 0 w 2348094"/>
              <a:gd name="connsiteY0" fmla="*/ 2085822 h 2085822"/>
              <a:gd name="connsiteX1" fmla="*/ 1846641 w 2348094"/>
              <a:gd name="connsiteY1" fmla="*/ 0 h 2085822"/>
              <a:gd name="connsiteX2" fmla="*/ 2348094 w 2348094"/>
              <a:gd name="connsiteY2" fmla="*/ 0 h 2085822"/>
              <a:gd name="connsiteX3" fmla="*/ 501453 w 2348094"/>
              <a:gd name="connsiteY3" fmla="*/ 2085822 h 2085822"/>
              <a:gd name="connsiteX4" fmla="*/ 0 w 2348094"/>
              <a:gd name="connsiteY4" fmla="*/ 2085822 h 2085822"/>
              <a:gd name="connsiteX0" fmla="*/ 0 w 2348094"/>
              <a:gd name="connsiteY0" fmla="*/ 2085822 h 2103752"/>
              <a:gd name="connsiteX1" fmla="*/ 1846641 w 2348094"/>
              <a:gd name="connsiteY1" fmla="*/ 0 h 2103752"/>
              <a:gd name="connsiteX2" fmla="*/ 2348094 w 2348094"/>
              <a:gd name="connsiteY2" fmla="*/ 0 h 2103752"/>
              <a:gd name="connsiteX3" fmla="*/ 1218629 w 2348094"/>
              <a:gd name="connsiteY3" fmla="*/ 2103752 h 2103752"/>
              <a:gd name="connsiteX4" fmla="*/ 0 w 2348094"/>
              <a:gd name="connsiteY4" fmla="*/ 2085822 h 2103752"/>
              <a:gd name="connsiteX0" fmla="*/ 0 w 2202919"/>
              <a:gd name="connsiteY0" fmla="*/ 2094896 h 2103752"/>
              <a:gd name="connsiteX1" fmla="*/ 1701466 w 2202919"/>
              <a:gd name="connsiteY1" fmla="*/ 0 h 2103752"/>
              <a:gd name="connsiteX2" fmla="*/ 2202919 w 2202919"/>
              <a:gd name="connsiteY2" fmla="*/ 0 h 2103752"/>
              <a:gd name="connsiteX3" fmla="*/ 1073454 w 2202919"/>
              <a:gd name="connsiteY3" fmla="*/ 2103752 h 2103752"/>
              <a:gd name="connsiteX4" fmla="*/ 0 w 2202919"/>
              <a:gd name="connsiteY4" fmla="*/ 2094896 h 2103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2919" h="2103752">
                <a:moveTo>
                  <a:pt x="0" y="2094896"/>
                </a:moveTo>
                <a:lnTo>
                  <a:pt x="1701466" y="0"/>
                </a:lnTo>
                <a:lnTo>
                  <a:pt x="2202919" y="0"/>
                </a:lnTo>
                <a:lnTo>
                  <a:pt x="1073454" y="2103752"/>
                </a:lnTo>
                <a:lnTo>
                  <a:pt x="0" y="2094896"/>
                </a:lnTo>
                <a:close/>
              </a:path>
            </a:pathLst>
          </a:cu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548" name="Parallelogram 24"/>
          <p:cNvSpPr/>
          <p:nvPr/>
        </p:nvSpPr>
        <p:spPr bwMode="auto">
          <a:xfrm flipH="1">
            <a:off x="4181232" y="3520306"/>
            <a:ext cx="1583698" cy="2247818"/>
          </a:xfrm>
          <a:custGeom>
            <a:avLst/>
            <a:gdLst>
              <a:gd name="connsiteX0" fmla="*/ 0 w 2348094"/>
              <a:gd name="connsiteY0" fmla="*/ 2085822 h 2085822"/>
              <a:gd name="connsiteX1" fmla="*/ 1846641 w 2348094"/>
              <a:gd name="connsiteY1" fmla="*/ 0 h 2085822"/>
              <a:gd name="connsiteX2" fmla="*/ 2348094 w 2348094"/>
              <a:gd name="connsiteY2" fmla="*/ 0 h 2085822"/>
              <a:gd name="connsiteX3" fmla="*/ 501453 w 2348094"/>
              <a:gd name="connsiteY3" fmla="*/ 2085822 h 2085822"/>
              <a:gd name="connsiteX4" fmla="*/ 0 w 2348094"/>
              <a:gd name="connsiteY4" fmla="*/ 2085822 h 2085822"/>
              <a:gd name="connsiteX0" fmla="*/ 0 w 2348094"/>
              <a:gd name="connsiteY0" fmla="*/ 2085822 h 2103752"/>
              <a:gd name="connsiteX1" fmla="*/ 1846641 w 2348094"/>
              <a:gd name="connsiteY1" fmla="*/ 0 h 2103752"/>
              <a:gd name="connsiteX2" fmla="*/ 2348094 w 2348094"/>
              <a:gd name="connsiteY2" fmla="*/ 0 h 2103752"/>
              <a:gd name="connsiteX3" fmla="*/ 1218629 w 2348094"/>
              <a:gd name="connsiteY3" fmla="*/ 2103752 h 2103752"/>
              <a:gd name="connsiteX4" fmla="*/ 0 w 2348094"/>
              <a:gd name="connsiteY4" fmla="*/ 2085822 h 2103752"/>
              <a:gd name="connsiteX0" fmla="*/ 0 w 2348094"/>
              <a:gd name="connsiteY0" fmla="*/ 2085822 h 2103752"/>
              <a:gd name="connsiteX1" fmla="*/ 1846641 w 2348094"/>
              <a:gd name="connsiteY1" fmla="*/ 0 h 2103752"/>
              <a:gd name="connsiteX2" fmla="*/ 2348094 w 2348094"/>
              <a:gd name="connsiteY2" fmla="*/ 0 h 2103752"/>
              <a:gd name="connsiteX3" fmla="*/ 1136967 w 2348094"/>
              <a:gd name="connsiteY3" fmla="*/ 2103752 h 2103752"/>
              <a:gd name="connsiteX4" fmla="*/ 0 w 2348094"/>
              <a:gd name="connsiteY4" fmla="*/ 2085822 h 2103752"/>
              <a:gd name="connsiteX0" fmla="*/ 0 w 2356361"/>
              <a:gd name="connsiteY0" fmla="*/ 2104709 h 2104709"/>
              <a:gd name="connsiteX1" fmla="*/ 1854908 w 2356361"/>
              <a:gd name="connsiteY1" fmla="*/ 0 h 2104709"/>
              <a:gd name="connsiteX2" fmla="*/ 2356361 w 2356361"/>
              <a:gd name="connsiteY2" fmla="*/ 0 h 2104709"/>
              <a:gd name="connsiteX3" fmla="*/ 1145234 w 2356361"/>
              <a:gd name="connsiteY3" fmla="*/ 2103752 h 2104709"/>
              <a:gd name="connsiteX4" fmla="*/ 0 w 2356361"/>
              <a:gd name="connsiteY4" fmla="*/ 2104709 h 210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6361" h="2104709">
                <a:moveTo>
                  <a:pt x="0" y="2104709"/>
                </a:moveTo>
                <a:lnTo>
                  <a:pt x="1854908" y="0"/>
                </a:lnTo>
                <a:lnTo>
                  <a:pt x="2356361" y="0"/>
                </a:lnTo>
                <a:lnTo>
                  <a:pt x="1145234" y="2103752"/>
                </a:lnTo>
                <a:lnTo>
                  <a:pt x="0" y="2104709"/>
                </a:lnTo>
                <a:close/>
              </a:path>
            </a:pathLst>
          </a:custGeom>
          <a:solidFill>
            <a:srgbClr val="5F8A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550" name="Group 549"/>
          <p:cNvGrpSpPr/>
          <p:nvPr/>
        </p:nvGrpSpPr>
        <p:grpSpPr>
          <a:xfrm flipH="1">
            <a:off x="4110648" y="2606452"/>
            <a:ext cx="848425" cy="678680"/>
            <a:chOff x="6159848" y="2649092"/>
            <a:chExt cx="848425" cy="678680"/>
          </a:xfrm>
        </p:grpSpPr>
        <p:grpSp>
          <p:nvGrpSpPr>
            <p:cNvPr id="551" name="Group 550"/>
            <p:cNvGrpSpPr/>
            <p:nvPr/>
          </p:nvGrpSpPr>
          <p:grpSpPr>
            <a:xfrm>
              <a:off x="6159848" y="3067772"/>
              <a:ext cx="255538" cy="260000"/>
              <a:chOff x="8629196" y="2775642"/>
              <a:chExt cx="1130448" cy="1150187"/>
            </a:xfrm>
          </p:grpSpPr>
          <p:sp>
            <p:nvSpPr>
              <p:cNvPr id="621" name="Parallelogram 620"/>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25" name="Parallelogram 624"/>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26" name="Rectangle 625"/>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2" name="Group 551"/>
            <p:cNvGrpSpPr/>
            <p:nvPr/>
          </p:nvGrpSpPr>
          <p:grpSpPr>
            <a:xfrm>
              <a:off x="6358475" y="3067772"/>
              <a:ext cx="255538" cy="260000"/>
              <a:chOff x="8629196" y="2775642"/>
              <a:chExt cx="1130448" cy="1150187"/>
            </a:xfrm>
          </p:grpSpPr>
          <p:sp>
            <p:nvSpPr>
              <p:cNvPr id="618" name="Parallelogram 617"/>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19" name="Parallelogram 618"/>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20" name="Rectangle 619"/>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3" name="Group 552"/>
            <p:cNvGrpSpPr/>
            <p:nvPr/>
          </p:nvGrpSpPr>
          <p:grpSpPr>
            <a:xfrm>
              <a:off x="6554108" y="3067772"/>
              <a:ext cx="255538" cy="260000"/>
              <a:chOff x="8629196" y="2775642"/>
              <a:chExt cx="1130448" cy="1150187"/>
            </a:xfrm>
          </p:grpSpPr>
          <p:sp>
            <p:nvSpPr>
              <p:cNvPr id="615" name="Parallelogram 614"/>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16" name="Parallelogram 615"/>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17" name="Rectangle 616"/>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4" name="Group 553"/>
            <p:cNvGrpSpPr/>
            <p:nvPr/>
          </p:nvGrpSpPr>
          <p:grpSpPr>
            <a:xfrm>
              <a:off x="6752735" y="3067772"/>
              <a:ext cx="255538" cy="260000"/>
              <a:chOff x="8629196" y="2775642"/>
              <a:chExt cx="1130448" cy="1150187"/>
            </a:xfrm>
          </p:grpSpPr>
          <p:sp>
            <p:nvSpPr>
              <p:cNvPr id="612" name="Parallelogram 611"/>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13" name="Parallelogram 612"/>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14" name="Rectangle 613"/>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5" name="Group 554"/>
            <p:cNvGrpSpPr/>
            <p:nvPr/>
          </p:nvGrpSpPr>
          <p:grpSpPr>
            <a:xfrm>
              <a:off x="6261735" y="2858497"/>
              <a:ext cx="255538" cy="260000"/>
              <a:chOff x="8629196" y="2775642"/>
              <a:chExt cx="1130448" cy="1150187"/>
            </a:xfrm>
          </p:grpSpPr>
          <p:sp>
            <p:nvSpPr>
              <p:cNvPr id="594" name="Parallelogram 593"/>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95" name="Parallelogram 594"/>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11" name="Rectangle 610"/>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6" name="Group 555"/>
            <p:cNvGrpSpPr/>
            <p:nvPr/>
          </p:nvGrpSpPr>
          <p:grpSpPr>
            <a:xfrm>
              <a:off x="6453382" y="2858497"/>
              <a:ext cx="255538" cy="260000"/>
              <a:chOff x="8629196" y="2775642"/>
              <a:chExt cx="1130448" cy="1150187"/>
            </a:xfrm>
          </p:grpSpPr>
          <p:sp>
            <p:nvSpPr>
              <p:cNvPr id="591" name="Parallelogram 590"/>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92" name="Parallelogram 591"/>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93" name="Rectangle 592"/>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8" name="Group 557"/>
            <p:cNvGrpSpPr/>
            <p:nvPr/>
          </p:nvGrpSpPr>
          <p:grpSpPr>
            <a:xfrm>
              <a:off x="6651081" y="2858497"/>
              <a:ext cx="255538" cy="260000"/>
              <a:chOff x="8629196" y="2775642"/>
              <a:chExt cx="1130448" cy="1150187"/>
            </a:xfrm>
          </p:grpSpPr>
          <p:sp>
            <p:nvSpPr>
              <p:cNvPr id="586" name="Parallelogram 585"/>
              <p:cNvSpPr/>
              <p:nvPr/>
            </p:nvSpPr>
            <p:spPr bwMode="auto">
              <a:xfrm>
                <a:off x="8629196" y="2775642"/>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88" name="Parallelogram 587"/>
              <p:cNvSpPr/>
              <p:nvPr/>
            </p:nvSpPr>
            <p:spPr bwMode="auto">
              <a:xfrm rot="16200000" flipH="1">
                <a:off x="9096106" y="322139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90" name="Rectangle 589"/>
              <p:cNvSpPr/>
              <p:nvPr/>
            </p:nvSpPr>
            <p:spPr bwMode="auto">
              <a:xfrm>
                <a:off x="8636176" y="3030341"/>
                <a:ext cx="863135" cy="895488"/>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79" name="Group 578"/>
            <p:cNvGrpSpPr/>
            <p:nvPr/>
          </p:nvGrpSpPr>
          <p:grpSpPr>
            <a:xfrm>
              <a:off x="6341132" y="2649092"/>
              <a:ext cx="255538" cy="260000"/>
              <a:chOff x="8629196" y="2744764"/>
              <a:chExt cx="1130448" cy="1150187"/>
            </a:xfrm>
          </p:grpSpPr>
          <p:sp>
            <p:nvSpPr>
              <p:cNvPr id="580" name="Parallelogram 579"/>
              <p:cNvSpPr/>
              <p:nvPr/>
            </p:nvSpPr>
            <p:spPr bwMode="auto">
              <a:xfrm>
                <a:off x="8629196" y="2744764"/>
                <a:ext cx="1098084" cy="228993"/>
              </a:xfrm>
              <a:prstGeom prst="parallelogram">
                <a:avLst>
                  <a:gd name="adj" fmla="val 87412"/>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81" name="Parallelogram 580"/>
              <p:cNvSpPr/>
              <p:nvPr/>
            </p:nvSpPr>
            <p:spPr bwMode="auto">
              <a:xfrm rot="16200000" flipH="1">
                <a:off x="9096106" y="3190510"/>
                <a:ext cx="1098084" cy="228993"/>
              </a:xfrm>
              <a:prstGeom prst="parallelogram">
                <a:avLst>
                  <a:gd name="adj" fmla="val 111797"/>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585" name="Rectangle 584"/>
              <p:cNvSpPr/>
              <p:nvPr/>
            </p:nvSpPr>
            <p:spPr bwMode="auto">
              <a:xfrm>
                <a:off x="8636177" y="2999464"/>
                <a:ext cx="863136" cy="895487"/>
              </a:xfrm>
              <a:prstGeom prst="rect">
                <a:avLst/>
              </a:pr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27" name="Group 626"/>
          <p:cNvGrpSpPr/>
          <p:nvPr/>
        </p:nvGrpSpPr>
        <p:grpSpPr>
          <a:xfrm>
            <a:off x="1982372" y="5306488"/>
            <a:ext cx="1532716" cy="1019627"/>
            <a:chOff x="8003531" y="4224448"/>
            <a:chExt cx="1115582" cy="1091367"/>
          </a:xfrm>
        </p:grpSpPr>
        <p:sp>
          <p:nvSpPr>
            <p:cNvPr id="628" name="Rectangle 627"/>
            <p:cNvSpPr/>
            <p:nvPr/>
          </p:nvSpPr>
          <p:spPr bwMode="auto">
            <a:xfrm flipH="1">
              <a:off x="8003531" y="4224448"/>
              <a:ext cx="1115582" cy="1091367"/>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lang="en-US" sz="900" dirty="0">
                  <a:solidFill>
                    <a:srgbClr val="FFFFFF"/>
                  </a:solidFill>
                </a:rPr>
                <a:t>Aggregate product data, customer sentiment, and other third-party syndicated data to identify and correct quality issues. </a:t>
              </a:r>
            </a:p>
          </p:txBody>
        </p:sp>
        <p:cxnSp>
          <p:nvCxnSpPr>
            <p:cNvPr id="629" name="Straight Connector 628"/>
            <p:cNvCxnSpPr/>
            <p:nvPr/>
          </p:nvCxnSpPr>
          <p:spPr>
            <a:xfrm flipH="1" flipV="1">
              <a:off x="9114172" y="4227679"/>
              <a:ext cx="1" cy="1088136"/>
            </a:xfrm>
            <a:prstGeom prst="line">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30" name="Group 629"/>
          <p:cNvGrpSpPr/>
          <p:nvPr/>
        </p:nvGrpSpPr>
        <p:grpSpPr>
          <a:xfrm>
            <a:off x="3475097" y="2000562"/>
            <a:ext cx="2096403" cy="575030"/>
            <a:chOff x="7650499" y="1995042"/>
            <a:chExt cx="1821532" cy="540554"/>
          </a:xfrm>
        </p:grpSpPr>
        <p:sp>
          <p:nvSpPr>
            <p:cNvPr id="631" name="Rectangle 630"/>
            <p:cNvSpPr/>
            <p:nvPr/>
          </p:nvSpPr>
          <p:spPr bwMode="auto">
            <a:xfrm flipH="1">
              <a:off x="7650499" y="1995042"/>
              <a:ext cx="1821532" cy="540069"/>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ln w="3175">
                    <a:noFill/>
                  </a:ln>
                  <a:solidFill>
                    <a:srgbClr val="FFFFFF"/>
                  </a:solidFill>
                  <a:cs typeface="Arial" charset="0"/>
                </a:rPr>
                <a:t>Manage equipment remotely, using temperature limits and other settings to conserve energy and reduce costs</a:t>
              </a:r>
              <a:r>
                <a:rPr lang="en-US" sz="900" dirty="0">
                  <a:ln w="3175">
                    <a:noFill/>
                  </a:ln>
                  <a:solidFill>
                    <a:srgbClr val="FFFFFF"/>
                  </a:solidFill>
                  <a:latin typeface="Segoe UI Light"/>
                  <a:cs typeface="Arial" charset="0"/>
                </a:rPr>
                <a:t>.</a:t>
              </a:r>
              <a:endParaRPr lang="en-US" sz="900" dirty="0">
                <a:ln w="3175">
                  <a:noFill/>
                </a:ln>
                <a:solidFill>
                  <a:srgbClr val="FFFFFF"/>
                </a:solidFill>
                <a:cs typeface="Arial" charset="0"/>
              </a:endParaRPr>
            </a:p>
          </p:txBody>
        </p:sp>
        <p:cxnSp>
          <p:nvCxnSpPr>
            <p:cNvPr id="632" name="Straight Connector 631"/>
            <p:cNvCxnSpPr/>
            <p:nvPr/>
          </p:nvCxnSpPr>
          <p:spPr>
            <a:xfrm flipH="1" flipV="1">
              <a:off x="9472029" y="1995526"/>
              <a:ext cx="1" cy="540070"/>
            </a:xfrm>
            <a:prstGeom prst="line">
              <a:avLst/>
            </a:prstGeom>
            <a:solidFill>
              <a:srgbClr val="8DC548">
                <a:alpha val="50000"/>
              </a:srgb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33" name="Group 632"/>
          <p:cNvGrpSpPr/>
          <p:nvPr/>
        </p:nvGrpSpPr>
        <p:grpSpPr>
          <a:xfrm>
            <a:off x="638882" y="2000560"/>
            <a:ext cx="2194849" cy="576448"/>
            <a:chOff x="3212078" y="2540764"/>
            <a:chExt cx="1723979" cy="569998"/>
          </a:xfrm>
        </p:grpSpPr>
        <p:sp>
          <p:nvSpPr>
            <p:cNvPr id="634" name="Rectangle 633"/>
            <p:cNvSpPr/>
            <p:nvPr/>
          </p:nvSpPr>
          <p:spPr bwMode="auto">
            <a:xfrm flipH="1">
              <a:off x="3212078" y="2540764"/>
              <a:ext cx="1723977" cy="56999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solidFill>
                    <a:srgbClr val="FFFFFF"/>
                  </a:solidFill>
                </a:rPr>
                <a:t>Monitor production flow in near-real time to eliminate waste and unnecessary work in process inventory.</a:t>
              </a:r>
              <a:endParaRPr lang="en-US" sz="900" dirty="0">
                <a:ln w="3175">
                  <a:noFill/>
                </a:ln>
                <a:solidFill>
                  <a:srgbClr val="FFFFFF"/>
                </a:solidFill>
                <a:cs typeface="Arial" charset="0"/>
              </a:endParaRPr>
            </a:p>
          </p:txBody>
        </p:sp>
        <p:cxnSp>
          <p:nvCxnSpPr>
            <p:cNvPr id="635" name="Straight Connector 634"/>
            <p:cNvCxnSpPr/>
            <p:nvPr/>
          </p:nvCxnSpPr>
          <p:spPr>
            <a:xfrm flipV="1">
              <a:off x="4936056" y="2540764"/>
              <a:ext cx="1" cy="568088"/>
            </a:xfrm>
            <a:prstGeom prst="line">
              <a:avLst/>
            </a:prstGeom>
            <a:solidFill>
              <a:srgbClr val="8DC548">
                <a:alpha val="50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36" name="Group 635"/>
          <p:cNvGrpSpPr>
            <a:grpSpLocks noChangeAspect="1"/>
          </p:cNvGrpSpPr>
          <p:nvPr/>
        </p:nvGrpSpPr>
        <p:grpSpPr>
          <a:xfrm>
            <a:off x="8035767" y="5446523"/>
            <a:ext cx="1647851" cy="861974"/>
            <a:chOff x="10071110" y="5541969"/>
            <a:chExt cx="1993902" cy="1042989"/>
          </a:xfrm>
        </p:grpSpPr>
        <p:sp>
          <p:nvSpPr>
            <p:cNvPr id="637" name="Freeform 15"/>
            <p:cNvSpPr>
              <a:spLocks/>
            </p:cNvSpPr>
            <p:nvPr/>
          </p:nvSpPr>
          <p:spPr bwMode="auto">
            <a:xfrm flipH="1">
              <a:off x="10079049" y="5541969"/>
              <a:ext cx="1327151" cy="615951"/>
            </a:xfrm>
            <a:custGeom>
              <a:avLst/>
              <a:gdLst>
                <a:gd name="T0" fmla="*/ 22 w 3343"/>
                <a:gd name="T1" fmla="*/ 0 h 1552"/>
                <a:gd name="T2" fmla="*/ 22 w 3343"/>
                <a:gd name="T3" fmla="*/ 0 h 1552"/>
                <a:gd name="T4" fmla="*/ 3343 w 3343"/>
                <a:gd name="T5" fmla="*/ 0 h 1552"/>
                <a:gd name="T6" fmla="*/ 3343 w 3343"/>
                <a:gd name="T7" fmla="*/ 1552 h 1552"/>
                <a:gd name="T8" fmla="*/ 3343 w 3343"/>
                <a:gd name="T9" fmla="*/ 1552 h 1552"/>
                <a:gd name="T10" fmla="*/ 0 w 3343"/>
                <a:gd name="T11" fmla="*/ 1552 h 1552"/>
                <a:gd name="T12" fmla="*/ 0 w 3343"/>
                <a:gd name="T13" fmla="*/ 1552 h 1552"/>
                <a:gd name="T14" fmla="*/ 0 w 3343"/>
                <a:gd name="T15" fmla="*/ 31 h 1552"/>
                <a:gd name="T16" fmla="*/ 0 w 3343"/>
                <a:gd name="T17" fmla="*/ 31 h 1552"/>
                <a:gd name="T18" fmla="*/ 0 w 3343"/>
                <a:gd name="T19" fmla="*/ 25 h 1552"/>
                <a:gd name="T20" fmla="*/ 1 w 3343"/>
                <a:gd name="T21" fmla="*/ 19 h 1552"/>
                <a:gd name="T22" fmla="*/ 3 w 3343"/>
                <a:gd name="T23" fmla="*/ 14 h 1552"/>
                <a:gd name="T24" fmla="*/ 6 w 3343"/>
                <a:gd name="T25" fmla="*/ 11 h 1552"/>
                <a:gd name="T26" fmla="*/ 8 w 3343"/>
                <a:gd name="T27" fmla="*/ 7 h 1552"/>
                <a:gd name="T28" fmla="*/ 12 w 3343"/>
                <a:gd name="T29" fmla="*/ 4 h 1552"/>
                <a:gd name="T30" fmla="*/ 22 w 3343"/>
                <a:gd name="T31" fmla="*/ 0 h 1552"/>
                <a:gd name="T32" fmla="*/ 22 w 3343"/>
                <a:gd name="T33" fmla="*/ 0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3" h="1552">
                  <a:moveTo>
                    <a:pt x="22" y="0"/>
                  </a:moveTo>
                  <a:lnTo>
                    <a:pt x="22" y="0"/>
                  </a:lnTo>
                  <a:lnTo>
                    <a:pt x="3343" y="0"/>
                  </a:lnTo>
                  <a:lnTo>
                    <a:pt x="3343" y="1552"/>
                  </a:lnTo>
                  <a:lnTo>
                    <a:pt x="3343" y="1552"/>
                  </a:lnTo>
                  <a:lnTo>
                    <a:pt x="0" y="1552"/>
                  </a:lnTo>
                  <a:lnTo>
                    <a:pt x="0" y="1552"/>
                  </a:lnTo>
                  <a:lnTo>
                    <a:pt x="0" y="31"/>
                  </a:lnTo>
                  <a:lnTo>
                    <a:pt x="0" y="31"/>
                  </a:lnTo>
                  <a:lnTo>
                    <a:pt x="0" y="25"/>
                  </a:lnTo>
                  <a:lnTo>
                    <a:pt x="1" y="19"/>
                  </a:lnTo>
                  <a:lnTo>
                    <a:pt x="3" y="14"/>
                  </a:lnTo>
                  <a:lnTo>
                    <a:pt x="6" y="11"/>
                  </a:lnTo>
                  <a:lnTo>
                    <a:pt x="8" y="7"/>
                  </a:lnTo>
                  <a:lnTo>
                    <a:pt x="12" y="4"/>
                  </a:lnTo>
                  <a:lnTo>
                    <a:pt x="22" y="0"/>
                  </a:lnTo>
                  <a:lnTo>
                    <a:pt x="22" y="0"/>
                  </a:lnTo>
                  <a:close/>
                </a:path>
              </a:pathLst>
            </a:custGeom>
            <a:solidFill>
              <a:schemeClr val="accent1">
                <a:lumMod val="75000"/>
              </a:schemeClr>
            </a:solidFill>
            <a:ln w="9525">
              <a:noFill/>
              <a:round/>
              <a:headEnd/>
              <a:tailEn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38" name="Freeform 16"/>
            <p:cNvSpPr>
              <a:spLocks/>
            </p:cNvSpPr>
            <p:nvPr/>
          </p:nvSpPr>
          <p:spPr bwMode="auto">
            <a:xfrm flipH="1">
              <a:off x="11634800" y="6330958"/>
              <a:ext cx="254000" cy="254000"/>
            </a:xfrm>
            <a:custGeom>
              <a:avLst/>
              <a:gdLst>
                <a:gd name="T0" fmla="*/ 304 w 642"/>
                <a:gd name="T1" fmla="*/ 641 h 641"/>
                <a:gd name="T2" fmla="*/ 257 w 642"/>
                <a:gd name="T3" fmla="*/ 635 h 641"/>
                <a:gd name="T4" fmla="*/ 211 w 642"/>
                <a:gd name="T5" fmla="*/ 622 h 641"/>
                <a:gd name="T6" fmla="*/ 168 w 642"/>
                <a:gd name="T7" fmla="*/ 602 h 641"/>
                <a:gd name="T8" fmla="*/ 129 w 642"/>
                <a:gd name="T9" fmla="*/ 577 h 641"/>
                <a:gd name="T10" fmla="*/ 94 w 642"/>
                <a:gd name="T11" fmla="*/ 547 h 641"/>
                <a:gd name="T12" fmla="*/ 64 w 642"/>
                <a:gd name="T13" fmla="*/ 512 h 641"/>
                <a:gd name="T14" fmla="*/ 39 w 642"/>
                <a:gd name="T15" fmla="*/ 473 h 641"/>
                <a:gd name="T16" fmla="*/ 20 w 642"/>
                <a:gd name="T17" fmla="*/ 431 h 641"/>
                <a:gd name="T18" fmla="*/ 7 w 642"/>
                <a:gd name="T19" fmla="*/ 385 h 641"/>
                <a:gd name="T20" fmla="*/ 1 w 642"/>
                <a:gd name="T21" fmla="*/ 337 h 641"/>
                <a:gd name="T22" fmla="*/ 1 w 642"/>
                <a:gd name="T23" fmla="*/ 304 h 641"/>
                <a:gd name="T24" fmla="*/ 7 w 642"/>
                <a:gd name="T25" fmla="*/ 256 h 641"/>
                <a:gd name="T26" fmla="*/ 20 w 642"/>
                <a:gd name="T27" fmla="*/ 210 h 641"/>
                <a:gd name="T28" fmla="*/ 39 w 642"/>
                <a:gd name="T29" fmla="*/ 168 h 641"/>
                <a:gd name="T30" fmla="*/ 64 w 642"/>
                <a:gd name="T31" fmla="*/ 129 h 641"/>
                <a:gd name="T32" fmla="*/ 94 w 642"/>
                <a:gd name="T33" fmla="*/ 94 h 641"/>
                <a:gd name="T34" fmla="*/ 129 w 642"/>
                <a:gd name="T35" fmla="*/ 64 h 641"/>
                <a:gd name="T36" fmla="*/ 168 w 642"/>
                <a:gd name="T37" fmla="*/ 39 h 641"/>
                <a:gd name="T38" fmla="*/ 211 w 642"/>
                <a:gd name="T39" fmla="*/ 20 h 641"/>
                <a:gd name="T40" fmla="*/ 257 w 642"/>
                <a:gd name="T41" fmla="*/ 6 h 641"/>
                <a:gd name="T42" fmla="*/ 304 w 642"/>
                <a:gd name="T43" fmla="*/ 0 h 641"/>
                <a:gd name="T44" fmla="*/ 338 w 642"/>
                <a:gd name="T45" fmla="*/ 0 h 641"/>
                <a:gd name="T46" fmla="*/ 385 w 642"/>
                <a:gd name="T47" fmla="*/ 6 h 641"/>
                <a:gd name="T48" fmla="*/ 431 w 642"/>
                <a:gd name="T49" fmla="*/ 20 h 641"/>
                <a:gd name="T50" fmla="*/ 474 w 642"/>
                <a:gd name="T51" fmla="*/ 39 h 641"/>
                <a:gd name="T52" fmla="*/ 513 w 642"/>
                <a:gd name="T53" fmla="*/ 64 h 641"/>
                <a:gd name="T54" fmla="*/ 548 w 642"/>
                <a:gd name="T55" fmla="*/ 94 h 641"/>
                <a:gd name="T56" fmla="*/ 578 w 642"/>
                <a:gd name="T57" fmla="*/ 129 h 641"/>
                <a:gd name="T58" fmla="*/ 603 w 642"/>
                <a:gd name="T59" fmla="*/ 168 h 641"/>
                <a:gd name="T60" fmla="*/ 621 w 642"/>
                <a:gd name="T61" fmla="*/ 210 h 641"/>
                <a:gd name="T62" fmla="*/ 635 w 642"/>
                <a:gd name="T63" fmla="*/ 256 h 641"/>
                <a:gd name="T64" fmla="*/ 641 w 642"/>
                <a:gd name="T65" fmla="*/ 304 h 641"/>
                <a:gd name="T66" fmla="*/ 641 w 642"/>
                <a:gd name="T67" fmla="*/ 337 h 641"/>
                <a:gd name="T68" fmla="*/ 635 w 642"/>
                <a:gd name="T69" fmla="*/ 385 h 641"/>
                <a:gd name="T70" fmla="*/ 621 w 642"/>
                <a:gd name="T71" fmla="*/ 431 h 641"/>
                <a:gd name="T72" fmla="*/ 603 w 642"/>
                <a:gd name="T73" fmla="*/ 473 h 641"/>
                <a:gd name="T74" fmla="*/ 578 w 642"/>
                <a:gd name="T75" fmla="*/ 512 h 641"/>
                <a:gd name="T76" fmla="*/ 548 w 642"/>
                <a:gd name="T77" fmla="*/ 547 h 641"/>
                <a:gd name="T78" fmla="*/ 513 w 642"/>
                <a:gd name="T79" fmla="*/ 577 h 641"/>
                <a:gd name="T80" fmla="*/ 474 w 642"/>
                <a:gd name="T81" fmla="*/ 602 h 641"/>
                <a:gd name="T82" fmla="*/ 431 w 642"/>
                <a:gd name="T83" fmla="*/ 622 h 641"/>
                <a:gd name="T84" fmla="*/ 385 w 642"/>
                <a:gd name="T85" fmla="*/ 635 h 641"/>
                <a:gd name="T86" fmla="*/ 338 w 642"/>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2" h="641">
                  <a:moveTo>
                    <a:pt x="321" y="641"/>
                  </a:moveTo>
                  <a:lnTo>
                    <a:pt x="321" y="641"/>
                  </a:lnTo>
                  <a:lnTo>
                    <a:pt x="304" y="641"/>
                  </a:lnTo>
                  <a:lnTo>
                    <a:pt x="288" y="640"/>
                  </a:lnTo>
                  <a:lnTo>
                    <a:pt x="273" y="637"/>
                  </a:lnTo>
                  <a:lnTo>
                    <a:pt x="257" y="635"/>
                  </a:lnTo>
                  <a:lnTo>
                    <a:pt x="241" y="631"/>
                  </a:lnTo>
                  <a:lnTo>
                    <a:pt x="226" y="627"/>
                  </a:lnTo>
                  <a:lnTo>
                    <a:pt x="211" y="622"/>
                  </a:lnTo>
                  <a:lnTo>
                    <a:pt x="197" y="616"/>
                  </a:lnTo>
                  <a:lnTo>
                    <a:pt x="182" y="610"/>
                  </a:lnTo>
                  <a:lnTo>
                    <a:pt x="168" y="602"/>
                  </a:lnTo>
                  <a:lnTo>
                    <a:pt x="154" y="595"/>
                  </a:lnTo>
                  <a:lnTo>
                    <a:pt x="142" y="587"/>
                  </a:lnTo>
                  <a:lnTo>
                    <a:pt x="129" y="577"/>
                  </a:lnTo>
                  <a:lnTo>
                    <a:pt x="117" y="567"/>
                  </a:lnTo>
                  <a:lnTo>
                    <a:pt x="105" y="558"/>
                  </a:lnTo>
                  <a:lnTo>
                    <a:pt x="94" y="547"/>
                  </a:lnTo>
                  <a:lnTo>
                    <a:pt x="83" y="536"/>
                  </a:lnTo>
                  <a:lnTo>
                    <a:pt x="74" y="524"/>
                  </a:lnTo>
                  <a:lnTo>
                    <a:pt x="64" y="512"/>
                  </a:lnTo>
                  <a:lnTo>
                    <a:pt x="55" y="500"/>
                  </a:lnTo>
                  <a:lnTo>
                    <a:pt x="47" y="487"/>
                  </a:lnTo>
                  <a:lnTo>
                    <a:pt x="39" y="473"/>
                  </a:lnTo>
                  <a:lnTo>
                    <a:pt x="32" y="460"/>
                  </a:lnTo>
                  <a:lnTo>
                    <a:pt x="25" y="446"/>
                  </a:lnTo>
                  <a:lnTo>
                    <a:pt x="20" y="431"/>
                  </a:lnTo>
                  <a:lnTo>
                    <a:pt x="14" y="415"/>
                  </a:lnTo>
                  <a:lnTo>
                    <a:pt x="11" y="401"/>
                  </a:lnTo>
                  <a:lnTo>
                    <a:pt x="7" y="385"/>
                  </a:lnTo>
                  <a:lnTo>
                    <a:pt x="4" y="370"/>
                  </a:lnTo>
                  <a:lnTo>
                    <a:pt x="2" y="354"/>
                  </a:lnTo>
                  <a:lnTo>
                    <a:pt x="1" y="337"/>
                  </a:lnTo>
                  <a:lnTo>
                    <a:pt x="0" y="320"/>
                  </a:lnTo>
                  <a:lnTo>
                    <a:pt x="0" y="320"/>
                  </a:lnTo>
                  <a:lnTo>
                    <a:pt x="1" y="304"/>
                  </a:lnTo>
                  <a:lnTo>
                    <a:pt x="2" y="287"/>
                  </a:lnTo>
                  <a:lnTo>
                    <a:pt x="4" y="272"/>
                  </a:lnTo>
                  <a:lnTo>
                    <a:pt x="7" y="256"/>
                  </a:lnTo>
                  <a:lnTo>
                    <a:pt x="11" y="240"/>
                  </a:lnTo>
                  <a:lnTo>
                    <a:pt x="14" y="226"/>
                  </a:lnTo>
                  <a:lnTo>
                    <a:pt x="20" y="210"/>
                  </a:lnTo>
                  <a:lnTo>
                    <a:pt x="25" y="196"/>
                  </a:lnTo>
                  <a:lnTo>
                    <a:pt x="32" y="181"/>
                  </a:lnTo>
                  <a:lnTo>
                    <a:pt x="39" y="168"/>
                  </a:lnTo>
                  <a:lnTo>
                    <a:pt x="47" y="155"/>
                  </a:lnTo>
                  <a:lnTo>
                    <a:pt x="55" y="141"/>
                  </a:lnTo>
                  <a:lnTo>
                    <a:pt x="64" y="129"/>
                  </a:lnTo>
                  <a:lnTo>
                    <a:pt x="74" y="117"/>
                  </a:lnTo>
                  <a:lnTo>
                    <a:pt x="83" y="105"/>
                  </a:lnTo>
                  <a:lnTo>
                    <a:pt x="94" y="94"/>
                  </a:lnTo>
                  <a:lnTo>
                    <a:pt x="105" y="84"/>
                  </a:lnTo>
                  <a:lnTo>
                    <a:pt x="117" y="74"/>
                  </a:lnTo>
                  <a:lnTo>
                    <a:pt x="129" y="64"/>
                  </a:lnTo>
                  <a:lnTo>
                    <a:pt x="142" y="55"/>
                  </a:lnTo>
                  <a:lnTo>
                    <a:pt x="154" y="46"/>
                  </a:lnTo>
                  <a:lnTo>
                    <a:pt x="168" y="39"/>
                  </a:lnTo>
                  <a:lnTo>
                    <a:pt x="182" y="32"/>
                  </a:lnTo>
                  <a:lnTo>
                    <a:pt x="197" y="26"/>
                  </a:lnTo>
                  <a:lnTo>
                    <a:pt x="211" y="20"/>
                  </a:lnTo>
                  <a:lnTo>
                    <a:pt x="226" y="15"/>
                  </a:lnTo>
                  <a:lnTo>
                    <a:pt x="241" y="10"/>
                  </a:lnTo>
                  <a:lnTo>
                    <a:pt x="257" y="6"/>
                  </a:lnTo>
                  <a:lnTo>
                    <a:pt x="273" y="4"/>
                  </a:lnTo>
                  <a:lnTo>
                    <a:pt x="288" y="1"/>
                  </a:lnTo>
                  <a:lnTo>
                    <a:pt x="304" y="0"/>
                  </a:lnTo>
                  <a:lnTo>
                    <a:pt x="321" y="0"/>
                  </a:lnTo>
                  <a:lnTo>
                    <a:pt x="321" y="0"/>
                  </a:lnTo>
                  <a:lnTo>
                    <a:pt x="338" y="0"/>
                  </a:lnTo>
                  <a:lnTo>
                    <a:pt x="354" y="1"/>
                  </a:lnTo>
                  <a:lnTo>
                    <a:pt x="369" y="4"/>
                  </a:lnTo>
                  <a:lnTo>
                    <a:pt x="385" y="6"/>
                  </a:lnTo>
                  <a:lnTo>
                    <a:pt x="401" y="10"/>
                  </a:lnTo>
                  <a:lnTo>
                    <a:pt x="416" y="15"/>
                  </a:lnTo>
                  <a:lnTo>
                    <a:pt x="431" y="20"/>
                  </a:lnTo>
                  <a:lnTo>
                    <a:pt x="445" y="26"/>
                  </a:lnTo>
                  <a:lnTo>
                    <a:pt x="460" y="32"/>
                  </a:lnTo>
                  <a:lnTo>
                    <a:pt x="474" y="39"/>
                  </a:lnTo>
                  <a:lnTo>
                    <a:pt x="487" y="46"/>
                  </a:lnTo>
                  <a:lnTo>
                    <a:pt x="500" y="55"/>
                  </a:lnTo>
                  <a:lnTo>
                    <a:pt x="513" y="64"/>
                  </a:lnTo>
                  <a:lnTo>
                    <a:pt x="525" y="74"/>
                  </a:lnTo>
                  <a:lnTo>
                    <a:pt x="537" y="84"/>
                  </a:lnTo>
                  <a:lnTo>
                    <a:pt x="548" y="94"/>
                  </a:lnTo>
                  <a:lnTo>
                    <a:pt x="559" y="105"/>
                  </a:lnTo>
                  <a:lnTo>
                    <a:pt x="568" y="117"/>
                  </a:lnTo>
                  <a:lnTo>
                    <a:pt x="578" y="129"/>
                  </a:lnTo>
                  <a:lnTo>
                    <a:pt x="586" y="141"/>
                  </a:lnTo>
                  <a:lnTo>
                    <a:pt x="595" y="155"/>
                  </a:lnTo>
                  <a:lnTo>
                    <a:pt x="603" y="168"/>
                  </a:lnTo>
                  <a:lnTo>
                    <a:pt x="609" y="181"/>
                  </a:lnTo>
                  <a:lnTo>
                    <a:pt x="617" y="196"/>
                  </a:lnTo>
                  <a:lnTo>
                    <a:pt x="621" y="210"/>
                  </a:lnTo>
                  <a:lnTo>
                    <a:pt x="627" y="226"/>
                  </a:lnTo>
                  <a:lnTo>
                    <a:pt x="631" y="240"/>
                  </a:lnTo>
                  <a:lnTo>
                    <a:pt x="635" y="256"/>
                  </a:lnTo>
                  <a:lnTo>
                    <a:pt x="638" y="272"/>
                  </a:lnTo>
                  <a:lnTo>
                    <a:pt x="640" y="287"/>
                  </a:lnTo>
                  <a:lnTo>
                    <a:pt x="641" y="304"/>
                  </a:lnTo>
                  <a:lnTo>
                    <a:pt x="642" y="320"/>
                  </a:lnTo>
                  <a:lnTo>
                    <a:pt x="642" y="320"/>
                  </a:lnTo>
                  <a:lnTo>
                    <a:pt x="641" y="337"/>
                  </a:lnTo>
                  <a:lnTo>
                    <a:pt x="640" y="354"/>
                  </a:lnTo>
                  <a:lnTo>
                    <a:pt x="638" y="370"/>
                  </a:lnTo>
                  <a:lnTo>
                    <a:pt x="635" y="385"/>
                  </a:lnTo>
                  <a:lnTo>
                    <a:pt x="631" y="401"/>
                  </a:lnTo>
                  <a:lnTo>
                    <a:pt x="627" y="415"/>
                  </a:lnTo>
                  <a:lnTo>
                    <a:pt x="621" y="431"/>
                  </a:lnTo>
                  <a:lnTo>
                    <a:pt x="617" y="446"/>
                  </a:lnTo>
                  <a:lnTo>
                    <a:pt x="609" y="460"/>
                  </a:lnTo>
                  <a:lnTo>
                    <a:pt x="603" y="473"/>
                  </a:lnTo>
                  <a:lnTo>
                    <a:pt x="595" y="487"/>
                  </a:lnTo>
                  <a:lnTo>
                    <a:pt x="586" y="500"/>
                  </a:lnTo>
                  <a:lnTo>
                    <a:pt x="578" y="512"/>
                  </a:lnTo>
                  <a:lnTo>
                    <a:pt x="568" y="524"/>
                  </a:lnTo>
                  <a:lnTo>
                    <a:pt x="559" y="536"/>
                  </a:lnTo>
                  <a:lnTo>
                    <a:pt x="548" y="547"/>
                  </a:lnTo>
                  <a:lnTo>
                    <a:pt x="537" y="558"/>
                  </a:lnTo>
                  <a:lnTo>
                    <a:pt x="525" y="567"/>
                  </a:lnTo>
                  <a:lnTo>
                    <a:pt x="513" y="577"/>
                  </a:lnTo>
                  <a:lnTo>
                    <a:pt x="500" y="587"/>
                  </a:lnTo>
                  <a:lnTo>
                    <a:pt x="487" y="595"/>
                  </a:lnTo>
                  <a:lnTo>
                    <a:pt x="474" y="602"/>
                  </a:lnTo>
                  <a:lnTo>
                    <a:pt x="460" y="610"/>
                  </a:lnTo>
                  <a:lnTo>
                    <a:pt x="445" y="616"/>
                  </a:lnTo>
                  <a:lnTo>
                    <a:pt x="431" y="622"/>
                  </a:lnTo>
                  <a:lnTo>
                    <a:pt x="416" y="627"/>
                  </a:lnTo>
                  <a:lnTo>
                    <a:pt x="401" y="631"/>
                  </a:lnTo>
                  <a:lnTo>
                    <a:pt x="385" y="635"/>
                  </a:lnTo>
                  <a:lnTo>
                    <a:pt x="369" y="637"/>
                  </a:lnTo>
                  <a:lnTo>
                    <a:pt x="354" y="640"/>
                  </a:lnTo>
                  <a:lnTo>
                    <a:pt x="338"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0" name="Freeform 17"/>
            <p:cNvSpPr>
              <a:spLocks/>
            </p:cNvSpPr>
            <p:nvPr/>
          </p:nvSpPr>
          <p:spPr bwMode="auto">
            <a:xfrm flipH="1">
              <a:off x="11688774" y="6386520"/>
              <a:ext cx="146050" cy="142876"/>
            </a:xfrm>
            <a:custGeom>
              <a:avLst/>
              <a:gdLst>
                <a:gd name="T0" fmla="*/ 182 w 364"/>
                <a:gd name="T1" fmla="*/ 363 h 363"/>
                <a:gd name="T2" fmla="*/ 146 w 364"/>
                <a:gd name="T3" fmla="*/ 360 h 363"/>
                <a:gd name="T4" fmla="*/ 111 w 364"/>
                <a:gd name="T5" fmla="*/ 349 h 363"/>
                <a:gd name="T6" fmla="*/ 81 w 364"/>
                <a:gd name="T7" fmla="*/ 332 h 363"/>
                <a:gd name="T8" fmla="*/ 54 w 364"/>
                <a:gd name="T9" fmla="*/ 310 h 363"/>
                <a:gd name="T10" fmla="*/ 31 w 364"/>
                <a:gd name="T11" fmla="*/ 284 h 363"/>
                <a:gd name="T12" fmla="*/ 14 w 364"/>
                <a:gd name="T13" fmla="*/ 252 h 363"/>
                <a:gd name="T14" fmla="*/ 3 w 364"/>
                <a:gd name="T15" fmla="*/ 218 h 363"/>
                <a:gd name="T16" fmla="*/ 0 w 364"/>
                <a:gd name="T17" fmla="*/ 181 h 363"/>
                <a:gd name="T18" fmla="*/ 1 w 364"/>
                <a:gd name="T19" fmla="*/ 163 h 363"/>
                <a:gd name="T20" fmla="*/ 8 w 364"/>
                <a:gd name="T21" fmla="*/ 128 h 363"/>
                <a:gd name="T22" fmla="*/ 23 w 364"/>
                <a:gd name="T23" fmla="*/ 95 h 363"/>
                <a:gd name="T24" fmla="*/ 42 w 364"/>
                <a:gd name="T25" fmla="*/ 66 h 363"/>
                <a:gd name="T26" fmla="*/ 66 w 364"/>
                <a:gd name="T27" fmla="*/ 41 h 363"/>
                <a:gd name="T28" fmla="*/ 95 w 364"/>
                <a:gd name="T29" fmla="*/ 22 h 363"/>
                <a:gd name="T30" fmla="*/ 128 w 364"/>
                <a:gd name="T31" fmla="*/ 8 h 363"/>
                <a:gd name="T32" fmla="*/ 164 w 364"/>
                <a:gd name="T33" fmla="*/ 1 h 363"/>
                <a:gd name="T34" fmla="*/ 182 w 364"/>
                <a:gd name="T35" fmla="*/ 0 h 363"/>
                <a:gd name="T36" fmla="*/ 218 w 364"/>
                <a:gd name="T37" fmla="*/ 4 h 363"/>
                <a:gd name="T38" fmla="*/ 253 w 364"/>
                <a:gd name="T39" fmla="*/ 15 h 363"/>
                <a:gd name="T40" fmla="*/ 283 w 364"/>
                <a:gd name="T41" fmla="*/ 31 h 363"/>
                <a:gd name="T42" fmla="*/ 310 w 364"/>
                <a:gd name="T43" fmla="*/ 53 h 363"/>
                <a:gd name="T44" fmla="*/ 333 w 364"/>
                <a:gd name="T45" fmla="*/ 80 h 363"/>
                <a:gd name="T46" fmla="*/ 350 w 364"/>
                <a:gd name="T47" fmla="*/ 111 h 363"/>
                <a:gd name="T48" fmla="*/ 361 w 364"/>
                <a:gd name="T49" fmla="*/ 145 h 363"/>
                <a:gd name="T50" fmla="*/ 364 w 364"/>
                <a:gd name="T51" fmla="*/ 181 h 363"/>
                <a:gd name="T52" fmla="*/ 363 w 364"/>
                <a:gd name="T53" fmla="*/ 200 h 363"/>
                <a:gd name="T54" fmla="*/ 356 w 364"/>
                <a:gd name="T55" fmla="*/ 235 h 363"/>
                <a:gd name="T56" fmla="*/ 341 w 364"/>
                <a:gd name="T57" fmla="*/ 268 h 363"/>
                <a:gd name="T58" fmla="*/ 322 w 364"/>
                <a:gd name="T59" fmla="*/ 297 h 363"/>
                <a:gd name="T60" fmla="*/ 298 w 364"/>
                <a:gd name="T61" fmla="*/ 322 h 363"/>
                <a:gd name="T62" fmla="*/ 269 w 364"/>
                <a:gd name="T63" fmla="*/ 342 h 363"/>
                <a:gd name="T64" fmla="*/ 236 w 364"/>
                <a:gd name="T65" fmla="*/ 355 h 363"/>
                <a:gd name="T66" fmla="*/ 200 w 364"/>
                <a:gd name="T67" fmla="*/ 362 h 363"/>
                <a:gd name="T68" fmla="*/ 182 w 364"/>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4" h="363">
                  <a:moveTo>
                    <a:pt x="182" y="363"/>
                  </a:moveTo>
                  <a:lnTo>
                    <a:pt x="182" y="363"/>
                  </a:lnTo>
                  <a:lnTo>
                    <a:pt x="164" y="362"/>
                  </a:lnTo>
                  <a:lnTo>
                    <a:pt x="146" y="360"/>
                  </a:lnTo>
                  <a:lnTo>
                    <a:pt x="128" y="355"/>
                  </a:lnTo>
                  <a:lnTo>
                    <a:pt x="111" y="349"/>
                  </a:lnTo>
                  <a:lnTo>
                    <a:pt x="95" y="342"/>
                  </a:lnTo>
                  <a:lnTo>
                    <a:pt x="81" y="332"/>
                  </a:lnTo>
                  <a:lnTo>
                    <a:pt x="66" y="322"/>
                  </a:lnTo>
                  <a:lnTo>
                    <a:pt x="54" y="310"/>
                  </a:lnTo>
                  <a:lnTo>
                    <a:pt x="42" y="297"/>
                  </a:lnTo>
                  <a:lnTo>
                    <a:pt x="31" y="284"/>
                  </a:lnTo>
                  <a:lnTo>
                    <a:pt x="23" y="268"/>
                  </a:lnTo>
                  <a:lnTo>
                    <a:pt x="14" y="252"/>
                  </a:lnTo>
                  <a:lnTo>
                    <a:pt x="8" y="235"/>
                  </a:lnTo>
                  <a:lnTo>
                    <a:pt x="3" y="218"/>
                  </a:lnTo>
                  <a:lnTo>
                    <a:pt x="1" y="200"/>
                  </a:lnTo>
                  <a:lnTo>
                    <a:pt x="0" y="181"/>
                  </a:lnTo>
                  <a:lnTo>
                    <a:pt x="0" y="181"/>
                  </a:lnTo>
                  <a:lnTo>
                    <a:pt x="1" y="163"/>
                  </a:lnTo>
                  <a:lnTo>
                    <a:pt x="3" y="145"/>
                  </a:lnTo>
                  <a:lnTo>
                    <a:pt x="8" y="128"/>
                  </a:lnTo>
                  <a:lnTo>
                    <a:pt x="14" y="111"/>
                  </a:lnTo>
                  <a:lnTo>
                    <a:pt x="23" y="95"/>
                  </a:lnTo>
                  <a:lnTo>
                    <a:pt x="31" y="80"/>
                  </a:lnTo>
                  <a:lnTo>
                    <a:pt x="42" y="66"/>
                  </a:lnTo>
                  <a:lnTo>
                    <a:pt x="54" y="53"/>
                  </a:lnTo>
                  <a:lnTo>
                    <a:pt x="66" y="41"/>
                  </a:lnTo>
                  <a:lnTo>
                    <a:pt x="81" y="31"/>
                  </a:lnTo>
                  <a:lnTo>
                    <a:pt x="95" y="22"/>
                  </a:lnTo>
                  <a:lnTo>
                    <a:pt x="111" y="15"/>
                  </a:lnTo>
                  <a:lnTo>
                    <a:pt x="128" y="8"/>
                  </a:lnTo>
                  <a:lnTo>
                    <a:pt x="146" y="4"/>
                  </a:lnTo>
                  <a:lnTo>
                    <a:pt x="164" y="1"/>
                  </a:lnTo>
                  <a:lnTo>
                    <a:pt x="182" y="0"/>
                  </a:lnTo>
                  <a:lnTo>
                    <a:pt x="182" y="0"/>
                  </a:lnTo>
                  <a:lnTo>
                    <a:pt x="200" y="1"/>
                  </a:lnTo>
                  <a:lnTo>
                    <a:pt x="218" y="4"/>
                  </a:lnTo>
                  <a:lnTo>
                    <a:pt x="236" y="8"/>
                  </a:lnTo>
                  <a:lnTo>
                    <a:pt x="253" y="15"/>
                  </a:lnTo>
                  <a:lnTo>
                    <a:pt x="269" y="22"/>
                  </a:lnTo>
                  <a:lnTo>
                    <a:pt x="283" y="31"/>
                  </a:lnTo>
                  <a:lnTo>
                    <a:pt x="298" y="41"/>
                  </a:lnTo>
                  <a:lnTo>
                    <a:pt x="310" y="53"/>
                  </a:lnTo>
                  <a:lnTo>
                    <a:pt x="322" y="66"/>
                  </a:lnTo>
                  <a:lnTo>
                    <a:pt x="333" y="80"/>
                  </a:lnTo>
                  <a:lnTo>
                    <a:pt x="341" y="95"/>
                  </a:lnTo>
                  <a:lnTo>
                    <a:pt x="350" y="111"/>
                  </a:lnTo>
                  <a:lnTo>
                    <a:pt x="356" y="128"/>
                  </a:lnTo>
                  <a:lnTo>
                    <a:pt x="361" y="145"/>
                  </a:lnTo>
                  <a:lnTo>
                    <a:pt x="363" y="163"/>
                  </a:lnTo>
                  <a:lnTo>
                    <a:pt x="364" y="181"/>
                  </a:lnTo>
                  <a:lnTo>
                    <a:pt x="364" y="181"/>
                  </a:lnTo>
                  <a:lnTo>
                    <a:pt x="363" y="200"/>
                  </a:lnTo>
                  <a:lnTo>
                    <a:pt x="361" y="218"/>
                  </a:lnTo>
                  <a:lnTo>
                    <a:pt x="356" y="235"/>
                  </a:lnTo>
                  <a:lnTo>
                    <a:pt x="350" y="252"/>
                  </a:lnTo>
                  <a:lnTo>
                    <a:pt x="341" y="268"/>
                  </a:lnTo>
                  <a:lnTo>
                    <a:pt x="333" y="284"/>
                  </a:lnTo>
                  <a:lnTo>
                    <a:pt x="322" y="297"/>
                  </a:lnTo>
                  <a:lnTo>
                    <a:pt x="310" y="310"/>
                  </a:lnTo>
                  <a:lnTo>
                    <a:pt x="298" y="322"/>
                  </a:lnTo>
                  <a:lnTo>
                    <a:pt x="283" y="332"/>
                  </a:lnTo>
                  <a:lnTo>
                    <a:pt x="269" y="342"/>
                  </a:lnTo>
                  <a:lnTo>
                    <a:pt x="253" y="349"/>
                  </a:lnTo>
                  <a:lnTo>
                    <a:pt x="236"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2" name="Freeform 18"/>
            <p:cNvSpPr>
              <a:spLocks/>
            </p:cNvSpPr>
            <p:nvPr/>
          </p:nvSpPr>
          <p:spPr bwMode="auto">
            <a:xfrm flipH="1">
              <a:off x="10691824"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20 w 641"/>
                <a:gd name="T17" fmla="*/ 431 h 641"/>
                <a:gd name="T18" fmla="*/ 8 w 641"/>
                <a:gd name="T19" fmla="*/ 385 h 641"/>
                <a:gd name="T20" fmla="*/ 0 w 641"/>
                <a:gd name="T21" fmla="*/ 337 h 641"/>
                <a:gd name="T22" fmla="*/ 0 w 641"/>
                <a:gd name="T23" fmla="*/ 304 h 641"/>
                <a:gd name="T24" fmla="*/ 8 w 641"/>
                <a:gd name="T25" fmla="*/ 256 h 641"/>
                <a:gd name="T26" fmla="*/ 20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3 w 641"/>
                <a:gd name="T53" fmla="*/ 64 h 641"/>
                <a:gd name="T54" fmla="*/ 547 w 641"/>
                <a:gd name="T55" fmla="*/ 94 h 641"/>
                <a:gd name="T56" fmla="*/ 578 w 641"/>
                <a:gd name="T57" fmla="*/ 129 h 641"/>
                <a:gd name="T58" fmla="*/ 603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3 w 641"/>
                <a:gd name="T73" fmla="*/ 473 h 641"/>
                <a:gd name="T74" fmla="*/ 578 w 641"/>
                <a:gd name="T75" fmla="*/ 512 h 641"/>
                <a:gd name="T76" fmla="*/ 547 w 641"/>
                <a:gd name="T77" fmla="*/ 547 h 641"/>
                <a:gd name="T78" fmla="*/ 513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9" y="640"/>
                  </a:lnTo>
                  <a:lnTo>
                    <a:pt x="272" y="637"/>
                  </a:lnTo>
                  <a:lnTo>
                    <a:pt x="256" y="635"/>
                  </a:lnTo>
                  <a:lnTo>
                    <a:pt x="241" y="631"/>
                  </a:lnTo>
                  <a:lnTo>
                    <a:pt x="226" y="627"/>
                  </a:lnTo>
                  <a:lnTo>
                    <a:pt x="210" y="622"/>
                  </a:lnTo>
                  <a:lnTo>
                    <a:pt x="196" y="616"/>
                  </a:lnTo>
                  <a:lnTo>
                    <a:pt x="183" y="610"/>
                  </a:lnTo>
                  <a:lnTo>
                    <a:pt x="168" y="602"/>
                  </a:lnTo>
                  <a:lnTo>
                    <a:pt x="155" y="595"/>
                  </a:lnTo>
                  <a:lnTo>
                    <a:pt x="142" y="587"/>
                  </a:lnTo>
                  <a:lnTo>
                    <a:pt x="129" y="577"/>
                  </a:lnTo>
                  <a:lnTo>
                    <a:pt x="117" y="567"/>
                  </a:lnTo>
                  <a:lnTo>
                    <a:pt x="105" y="558"/>
                  </a:lnTo>
                  <a:lnTo>
                    <a:pt x="94" y="547"/>
                  </a:lnTo>
                  <a:lnTo>
                    <a:pt x="84" y="536"/>
                  </a:lnTo>
                  <a:lnTo>
                    <a:pt x="74" y="524"/>
                  </a:lnTo>
                  <a:lnTo>
                    <a:pt x="64" y="512"/>
                  </a:lnTo>
                  <a:lnTo>
                    <a:pt x="56" y="500"/>
                  </a:lnTo>
                  <a:lnTo>
                    <a:pt x="47" y="487"/>
                  </a:lnTo>
                  <a:lnTo>
                    <a:pt x="39" y="473"/>
                  </a:lnTo>
                  <a:lnTo>
                    <a:pt x="32" y="460"/>
                  </a:lnTo>
                  <a:lnTo>
                    <a:pt x="26" y="446"/>
                  </a:lnTo>
                  <a:lnTo>
                    <a:pt x="20" y="431"/>
                  </a:lnTo>
                  <a:lnTo>
                    <a:pt x="15" y="415"/>
                  </a:lnTo>
                  <a:lnTo>
                    <a:pt x="10" y="401"/>
                  </a:lnTo>
                  <a:lnTo>
                    <a:pt x="8" y="385"/>
                  </a:lnTo>
                  <a:lnTo>
                    <a:pt x="4" y="370"/>
                  </a:lnTo>
                  <a:lnTo>
                    <a:pt x="2" y="354"/>
                  </a:lnTo>
                  <a:lnTo>
                    <a:pt x="0" y="337"/>
                  </a:lnTo>
                  <a:lnTo>
                    <a:pt x="0" y="320"/>
                  </a:lnTo>
                  <a:lnTo>
                    <a:pt x="0" y="320"/>
                  </a:lnTo>
                  <a:lnTo>
                    <a:pt x="0" y="304"/>
                  </a:lnTo>
                  <a:lnTo>
                    <a:pt x="2" y="287"/>
                  </a:lnTo>
                  <a:lnTo>
                    <a:pt x="4" y="272"/>
                  </a:lnTo>
                  <a:lnTo>
                    <a:pt x="8" y="256"/>
                  </a:lnTo>
                  <a:lnTo>
                    <a:pt x="10" y="240"/>
                  </a:lnTo>
                  <a:lnTo>
                    <a:pt x="15" y="226"/>
                  </a:lnTo>
                  <a:lnTo>
                    <a:pt x="20" y="210"/>
                  </a:lnTo>
                  <a:lnTo>
                    <a:pt x="26" y="196"/>
                  </a:lnTo>
                  <a:lnTo>
                    <a:pt x="32" y="181"/>
                  </a:lnTo>
                  <a:lnTo>
                    <a:pt x="39" y="168"/>
                  </a:lnTo>
                  <a:lnTo>
                    <a:pt x="47" y="155"/>
                  </a:lnTo>
                  <a:lnTo>
                    <a:pt x="56" y="141"/>
                  </a:lnTo>
                  <a:lnTo>
                    <a:pt x="64" y="129"/>
                  </a:lnTo>
                  <a:lnTo>
                    <a:pt x="74" y="117"/>
                  </a:lnTo>
                  <a:lnTo>
                    <a:pt x="84" y="105"/>
                  </a:lnTo>
                  <a:lnTo>
                    <a:pt x="94" y="94"/>
                  </a:lnTo>
                  <a:lnTo>
                    <a:pt x="105" y="84"/>
                  </a:lnTo>
                  <a:lnTo>
                    <a:pt x="117" y="74"/>
                  </a:lnTo>
                  <a:lnTo>
                    <a:pt x="129" y="64"/>
                  </a:lnTo>
                  <a:lnTo>
                    <a:pt x="142" y="55"/>
                  </a:lnTo>
                  <a:lnTo>
                    <a:pt x="155" y="46"/>
                  </a:lnTo>
                  <a:lnTo>
                    <a:pt x="168" y="39"/>
                  </a:lnTo>
                  <a:lnTo>
                    <a:pt x="183" y="32"/>
                  </a:lnTo>
                  <a:lnTo>
                    <a:pt x="196" y="26"/>
                  </a:lnTo>
                  <a:lnTo>
                    <a:pt x="210" y="20"/>
                  </a:lnTo>
                  <a:lnTo>
                    <a:pt x="226" y="15"/>
                  </a:lnTo>
                  <a:lnTo>
                    <a:pt x="241" y="10"/>
                  </a:lnTo>
                  <a:lnTo>
                    <a:pt x="256" y="6"/>
                  </a:lnTo>
                  <a:lnTo>
                    <a:pt x="272" y="4"/>
                  </a:lnTo>
                  <a:lnTo>
                    <a:pt x="289" y="1"/>
                  </a:lnTo>
                  <a:lnTo>
                    <a:pt x="304" y="0"/>
                  </a:lnTo>
                  <a:lnTo>
                    <a:pt x="321" y="0"/>
                  </a:lnTo>
                  <a:lnTo>
                    <a:pt x="321" y="0"/>
                  </a:lnTo>
                  <a:lnTo>
                    <a:pt x="337" y="0"/>
                  </a:lnTo>
                  <a:lnTo>
                    <a:pt x="354" y="1"/>
                  </a:lnTo>
                  <a:lnTo>
                    <a:pt x="370" y="4"/>
                  </a:lnTo>
                  <a:lnTo>
                    <a:pt x="385" y="6"/>
                  </a:lnTo>
                  <a:lnTo>
                    <a:pt x="401" y="10"/>
                  </a:lnTo>
                  <a:lnTo>
                    <a:pt x="417" y="15"/>
                  </a:lnTo>
                  <a:lnTo>
                    <a:pt x="431" y="20"/>
                  </a:lnTo>
                  <a:lnTo>
                    <a:pt x="446" y="26"/>
                  </a:lnTo>
                  <a:lnTo>
                    <a:pt x="460" y="32"/>
                  </a:lnTo>
                  <a:lnTo>
                    <a:pt x="473" y="39"/>
                  </a:lnTo>
                  <a:lnTo>
                    <a:pt x="487" y="46"/>
                  </a:lnTo>
                  <a:lnTo>
                    <a:pt x="500" y="55"/>
                  </a:lnTo>
                  <a:lnTo>
                    <a:pt x="513" y="64"/>
                  </a:lnTo>
                  <a:lnTo>
                    <a:pt x="525" y="74"/>
                  </a:lnTo>
                  <a:lnTo>
                    <a:pt x="536" y="84"/>
                  </a:lnTo>
                  <a:lnTo>
                    <a:pt x="547" y="94"/>
                  </a:lnTo>
                  <a:lnTo>
                    <a:pt x="558" y="105"/>
                  </a:lnTo>
                  <a:lnTo>
                    <a:pt x="569" y="117"/>
                  </a:lnTo>
                  <a:lnTo>
                    <a:pt x="578" y="129"/>
                  </a:lnTo>
                  <a:lnTo>
                    <a:pt x="587" y="141"/>
                  </a:lnTo>
                  <a:lnTo>
                    <a:pt x="595" y="155"/>
                  </a:lnTo>
                  <a:lnTo>
                    <a:pt x="603" y="168"/>
                  </a:lnTo>
                  <a:lnTo>
                    <a:pt x="610" y="181"/>
                  </a:lnTo>
                  <a:lnTo>
                    <a:pt x="616" y="196"/>
                  </a:lnTo>
                  <a:lnTo>
                    <a:pt x="622" y="210"/>
                  </a:lnTo>
                  <a:lnTo>
                    <a:pt x="627" y="226"/>
                  </a:lnTo>
                  <a:lnTo>
                    <a:pt x="632" y="240"/>
                  </a:lnTo>
                  <a:lnTo>
                    <a:pt x="635" y="256"/>
                  </a:lnTo>
                  <a:lnTo>
                    <a:pt x="638" y="272"/>
                  </a:lnTo>
                  <a:lnTo>
                    <a:pt x="640" y="287"/>
                  </a:lnTo>
                  <a:lnTo>
                    <a:pt x="641" y="304"/>
                  </a:lnTo>
                  <a:lnTo>
                    <a:pt x="641" y="320"/>
                  </a:lnTo>
                  <a:lnTo>
                    <a:pt x="641" y="320"/>
                  </a:lnTo>
                  <a:lnTo>
                    <a:pt x="641" y="337"/>
                  </a:lnTo>
                  <a:lnTo>
                    <a:pt x="640" y="354"/>
                  </a:lnTo>
                  <a:lnTo>
                    <a:pt x="638" y="370"/>
                  </a:lnTo>
                  <a:lnTo>
                    <a:pt x="635" y="385"/>
                  </a:lnTo>
                  <a:lnTo>
                    <a:pt x="632" y="401"/>
                  </a:lnTo>
                  <a:lnTo>
                    <a:pt x="627" y="415"/>
                  </a:lnTo>
                  <a:lnTo>
                    <a:pt x="622" y="431"/>
                  </a:lnTo>
                  <a:lnTo>
                    <a:pt x="616" y="446"/>
                  </a:lnTo>
                  <a:lnTo>
                    <a:pt x="610" y="460"/>
                  </a:lnTo>
                  <a:lnTo>
                    <a:pt x="603" y="473"/>
                  </a:lnTo>
                  <a:lnTo>
                    <a:pt x="595" y="487"/>
                  </a:lnTo>
                  <a:lnTo>
                    <a:pt x="587" y="500"/>
                  </a:lnTo>
                  <a:lnTo>
                    <a:pt x="578" y="512"/>
                  </a:lnTo>
                  <a:lnTo>
                    <a:pt x="569" y="524"/>
                  </a:lnTo>
                  <a:lnTo>
                    <a:pt x="558" y="536"/>
                  </a:lnTo>
                  <a:lnTo>
                    <a:pt x="547" y="547"/>
                  </a:lnTo>
                  <a:lnTo>
                    <a:pt x="536" y="558"/>
                  </a:lnTo>
                  <a:lnTo>
                    <a:pt x="525" y="567"/>
                  </a:lnTo>
                  <a:lnTo>
                    <a:pt x="513" y="577"/>
                  </a:lnTo>
                  <a:lnTo>
                    <a:pt x="500" y="587"/>
                  </a:lnTo>
                  <a:lnTo>
                    <a:pt x="487" y="595"/>
                  </a:lnTo>
                  <a:lnTo>
                    <a:pt x="473" y="602"/>
                  </a:lnTo>
                  <a:lnTo>
                    <a:pt x="460" y="610"/>
                  </a:lnTo>
                  <a:lnTo>
                    <a:pt x="446" y="616"/>
                  </a:lnTo>
                  <a:lnTo>
                    <a:pt x="431" y="622"/>
                  </a:lnTo>
                  <a:lnTo>
                    <a:pt x="417" y="627"/>
                  </a:lnTo>
                  <a:lnTo>
                    <a:pt x="401" y="631"/>
                  </a:lnTo>
                  <a:lnTo>
                    <a:pt x="385" y="635"/>
                  </a:lnTo>
                  <a:lnTo>
                    <a:pt x="370"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3" name="Freeform 19"/>
            <p:cNvSpPr>
              <a:spLocks/>
            </p:cNvSpPr>
            <p:nvPr/>
          </p:nvSpPr>
          <p:spPr bwMode="auto">
            <a:xfrm flipH="1">
              <a:off x="10745798" y="6386520"/>
              <a:ext cx="144463" cy="142876"/>
            </a:xfrm>
            <a:custGeom>
              <a:avLst/>
              <a:gdLst>
                <a:gd name="T0" fmla="*/ 182 w 363"/>
                <a:gd name="T1" fmla="*/ 363 h 363"/>
                <a:gd name="T2" fmla="*/ 145 w 363"/>
                <a:gd name="T3" fmla="*/ 360 h 363"/>
                <a:gd name="T4" fmla="*/ 111 w 363"/>
                <a:gd name="T5" fmla="*/ 349 h 363"/>
                <a:gd name="T6" fmla="*/ 81 w 363"/>
                <a:gd name="T7" fmla="*/ 332 h 363"/>
                <a:gd name="T8" fmla="*/ 53 w 363"/>
                <a:gd name="T9" fmla="*/ 310 h 363"/>
                <a:gd name="T10" fmla="*/ 32 w 363"/>
                <a:gd name="T11" fmla="*/ 284 h 363"/>
                <a:gd name="T12" fmla="*/ 15 w 363"/>
                <a:gd name="T13" fmla="*/ 252 h 363"/>
                <a:gd name="T14" fmla="*/ 4 w 363"/>
                <a:gd name="T15" fmla="*/ 218 h 363"/>
                <a:gd name="T16" fmla="*/ 0 w 363"/>
                <a:gd name="T17" fmla="*/ 181 h 363"/>
                <a:gd name="T18" fmla="*/ 1 w 363"/>
                <a:gd name="T19" fmla="*/ 163 h 363"/>
                <a:gd name="T20" fmla="*/ 9 w 363"/>
                <a:gd name="T21" fmla="*/ 128 h 363"/>
                <a:gd name="T22" fmla="*/ 22 w 363"/>
                <a:gd name="T23" fmla="*/ 95 h 363"/>
                <a:gd name="T24" fmla="*/ 42 w 363"/>
                <a:gd name="T25" fmla="*/ 66 h 363"/>
                <a:gd name="T26" fmla="*/ 67 w 363"/>
                <a:gd name="T27" fmla="*/ 41 h 363"/>
                <a:gd name="T28" fmla="*/ 95 w 363"/>
                <a:gd name="T29" fmla="*/ 22 h 363"/>
                <a:gd name="T30" fmla="*/ 128 w 363"/>
                <a:gd name="T31" fmla="*/ 8 h 363"/>
                <a:gd name="T32" fmla="*/ 163 w 363"/>
                <a:gd name="T33" fmla="*/ 1 h 363"/>
                <a:gd name="T34" fmla="*/ 182 w 363"/>
                <a:gd name="T35" fmla="*/ 0 h 363"/>
                <a:gd name="T36" fmla="*/ 219 w 363"/>
                <a:gd name="T37" fmla="*/ 4 h 363"/>
                <a:gd name="T38" fmla="*/ 252 w 363"/>
                <a:gd name="T39" fmla="*/ 15 h 363"/>
                <a:gd name="T40" fmla="*/ 284 w 363"/>
                <a:gd name="T41" fmla="*/ 31 h 363"/>
                <a:gd name="T42" fmla="*/ 310 w 363"/>
                <a:gd name="T43" fmla="*/ 53 h 363"/>
                <a:gd name="T44" fmla="*/ 333 w 363"/>
                <a:gd name="T45" fmla="*/ 80 h 363"/>
                <a:gd name="T46" fmla="*/ 350 w 363"/>
                <a:gd name="T47" fmla="*/ 111 h 363"/>
                <a:gd name="T48" fmla="*/ 360 w 363"/>
                <a:gd name="T49" fmla="*/ 145 h 363"/>
                <a:gd name="T50" fmla="*/ 363 w 363"/>
                <a:gd name="T51" fmla="*/ 181 h 363"/>
                <a:gd name="T52" fmla="*/ 363 w 363"/>
                <a:gd name="T53" fmla="*/ 200 h 363"/>
                <a:gd name="T54" fmla="*/ 356 w 363"/>
                <a:gd name="T55" fmla="*/ 235 h 363"/>
                <a:gd name="T56" fmla="*/ 342 w 363"/>
                <a:gd name="T57" fmla="*/ 268 h 363"/>
                <a:gd name="T58" fmla="*/ 322 w 363"/>
                <a:gd name="T59" fmla="*/ 297 h 363"/>
                <a:gd name="T60" fmla="*/ 298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1" y="332"/>
                  </a:lnTo>
                  <a:lnTo>
                    <a:pt x="67" y="322"/>
                  </a:lnTo>
                  <a:lnTo>
                    <a:pt x="53" y="310"/>
                  </a:lnTo>
                  <a:lnTo>
                    <a:pt x="42" y="297"/>
                  </a:lnTo>
                  <a:lnTo>
                    <a:pt x="32" y="284"/>
                  </a:lnTo>
                  <a:lnTo>
                    <a:pt x="22" y="268"/>
                  </a:lnTo>
                  <a:lnTo>
                    <a:pt x="15" y="252"/>
                  </a:lnTo>
                  <a:lnTo>
                    <a:pt x="9" y="235"/>
                  </a:lnTo>
                  <a:lnTo>
                    <a:pt x="4" y="218"/>
                  </a:lnTo>
                  <a:lnTo>
                    <a:pt x="1" y="200"/>
                  </a:lnTo>
                  <a:lnTo>
                    <a:pt x="0" y="181"/>
                  </a:lnTo>
                  <a:lnTo>
                    <a:pt x="0" y="181"/>
                  </a:lnTo>
                  <a:lnTo>
                    <a:pt x="1" y="163"/>
                  </a:lnTo>
                  <a:lnTo>
                    <a:pt x="4" y="145"/>
                  </a:lnTo>
                  <a:lnTo>
                    <a:pt x="9" y="128"/>
                  </a:lnTo>
                  <a:lnTo>
                    <a:pt x="15" y="111"/>
                  </a:lnTo>
                  <a:lnTo>
                    <a:pt x="22" y="95"/>
                  </a:lnTo>
                  <a:lnTo>
                    <a:pt x="32" y="80"/>
                  </a:lnTo>
                  <a:lnTo>
                    <a:pt x="42" y="66"/>
                  </a:lnTo>
                  <a:lnTo>
                    <a:pt x="53" y="53"/>
                  </a:lnTo>
                  <a:lnTo>
                    <a:pt x="67" y="41"/>
                  </a:lnTo>
                  <a:lnTo>
                    <a:pt x="81" y="31"/>
                  </a:lnTo>
                  <a:lnTo>
                    <a:pt x="95" y="22"/>
                  </a:lnTo>
                  <a:lnTo>
                    <a:pt x="111" y="15"/>
                  </a:lnTo>
                  <a:lnTo>
                    <a:pt x="128" y="8"/>
                  </a:lnTo>
                  <a:lnTo>
                    <a:pt x="145" y="4"/>
                  </a:lnTo>
                  <a:lnTo>
                    <a:pt x="163" y="1"/>
                  </a:lnTo>
                  <a:lnTo>
                    <a:pt x="182" y="0"/>
                  </a:lnTo>
                  <a:lnTo>
                    <a:pt x="182" y="0"/>
                  </a:lnTo>
                  <a:lnTo>
                    <a:pt x="200" y="1"/>
                  </a:lnTo>
                  <a:lnTo>
                    <a:pt x="219" y="4"/>
                  </a:lnTo>
                  <a:lnTo>
                    <a:pt x="235" y="8"/>
                  </a:lnTo>
                  <a:lnTo>
                    <a:pt x="252" y="15"/>
                  </a:lnTo>
                  <a:lnTo>
                    <a:pt x="268" y="22"/>
                  </a:lnTo>
                  <a:lnTo>
                    <a:pt x="284" y="31"/>
                  </a:lnTo>
                  <a:lnTo>
                    <a:pt x="298" y="41"/>
                  </a:lnTo>
                  <a:lnTo>
                    <a:pt x="310" y="53"/>
                  </a:lnTo>
                  <a:lnTo>
                    <a:pt x="322" y="66"/>
                  </a:lnTo>
                  <a:lnTo>
                    <a:pt x="333" y="80"/>
                  </a:lnTo>
                  <a:lnTo>
                    <a:pt x="342" y="95"/>
                  </a:lnTo>
                  <a:lnTo>
                    <a:pt x="350" y="111"/>
                  </a:lnTo>
                  <a:lnTo>
                    <a:pt x="356" y="128"/>
                  </a:lnTo>
                  <a:lnTo>
                    <a:pt x="360" y="145"/>
                  </a:lnTo>
                  <a:lnTo>
                    <a:pt x="363" y="163"/>
                  </a:lnTo>
                  <a:lnTo>
                    <a:pt x="363" y="181"/>
                  </a:lnTo>
                  <a:lnTo>
                    <a:pt x="363" y="181"/>
                  </a:lnTo>
                  <a:lnTo>
                    <a:pt x="363" y="200"/>
                  </a:lnTo>
                  <a:lnTo>
                    <a:pt x="360" y="218"/>
                  </a:lnTo>
                  <a:lnTo>
                    <a:pt x="356" y="235"/>
                  </a:lnTo>
                  <a:lnTo>
                    <a:pt x="350" y="252"/>
                  </a:lnTo>
                  <a:lnTo>
                    <a:pt x="342" y="268"/>
                  </a:lnTo>
                  <a:lnTo>
                    <a:pt x="333" y="284"/>
                  </a:lnTo>
                  <a:lnTo>
                    <a:pt x="322" y="297"/>
                  </a:lnTo>
                  <a:lnTo>
                    <a:pt x="310" y="310"/>
                  </a:lnTo>
                  <a:lnTo>
                    <a:pt x="298" y="322"/>
                  </a:lnTo>
                  <a:lnTo>
                    <a:pt x="284" y="332"/>
                  </a:lnTo>
                  <a:lnTo>
                    <a:pt x="268" y="342"/>
                  </a:lnTo>
                  <a:lnTo>
                    <a:pt x="252" y="349"/>
                  </a:lnTo>
                  <a:lnTo>
                    <a:pt x="235" y="355"/>
                  </a:lnTo>
                  <a:lnTo>
                    <a:pt x="219"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4" name="Freeform 20"/>
            <p:cNvSpPr>
              <a:spLocks/>
            </p:cNvSpPr>
            <p:nvPr/>
          </p:nvSpPr>
          <p:spPr bwMode="auto">
            <a:xfrm flipH="1">
              <a:off x="10287011" y="6330958"/>
              <a:ext cx="254000" cy="254000"/>
            </a:xfrm>
            <a:custGeom>
              <a:avLst/>
              <a:gdLst>
                <a:gd name="T0" fmla="*/ 304 w 641"/>
                <a:gd name="T1" fmla="*/ 641 h 641"/>
                <a:gd name="T2" fmla="*/ 256 w 641"/>
                <a:gd name="T3" fmla="*/ 635 h 641"/>
                <a:gd name="T4" fmla="*/ 210 w 641"/>
                <a:gd name="T5" fmla="*/ 622 h 641"/>
                <a:gd name="T6" fmla="*/ 168 w 641"/>
                <a:gd name="T7" fmla="*/ 602 h 641"/>
                <a:gd name="T8" fmla="*/ 129 w 641"/>
                <a:gd name="T9" fmla="*/ 577 h 641"/>
                <a:gd name="T10" fmla="*/ 94 w 641"/>
                <a:gd name="T11" fmla="*/ 547 h 641"/>
                <a:gd name="T12" fmla="*/ 64 w 641"/>
                <a:gd name="T13" fmla="*/ 512 h 641"/>
                <a:gd name="T14" fmla="*/ 39 w 641"/>
                <a:gd name="T15" fmla="*/ 473 h 641"/>
                <a:gd name="T16" fmla="*/ 19 w 641"/>
                <a:gd name="T17" fmla="*/ 431 h 641"/>
                <a:gd name="T18" fmla="*/ 6 w 641"/>
                <a:gd name="T19" fmla="*/ 385 h 641"/>
                <a:gd name="T20" fmla="*/ 0 w 641"/>
                <a:gd name="T21" fmla="*/ 337 h 641"/>
                <a:gd name="T22" fmla="*/ 0 w 641"/>
                <a:gd name="T23" fmla="*/ 304 h 641"/>
                <a:gd name="T24" fmla="*/ 6 w 641"/>
                <a:gd name="T25" fmla="*/ 256 h 641"/>
                <a:gd name="T26" fmla="*/ 19 w 641"/>
                <a:gd name="T27" fmla="*/ 210 h 641"/>
                <a:gd name="T28" fmla="*/ 39 w 641"/>
                <a:gd name="T29" fmla="*/ 168 h 641"/>
                <a:gd name="T30" fmla="*/ 64 w 641"/>
                <a:gd name="T31" fmla="*/ 129 h 641"/>
                <a:gd name="T32" fmla="*/ 94 w 641"/>
                <a:gd name="T33" fmla="*/ 94 h 641"/>
                <a:gd name="T34" fmla="*/ 129 w 641"/>
                <a:gd name="T35" fmla="*/ 64 h 641"/>
                <a:gd name="T36" fmla="*/ 168 w 641"/>
                <a:gd name="T37" fmla="*/ 39 h 641"/>
                <a:gd name="T38" fmla="*/ 210 w 641"/>
                <a:gd name="T39" fmla="*/ 20 h 641"/>
                <a:gd name="T40" fmla="*/ 256 w 641"/>
                <a:gd name="T41" fmla="*/ 6 h 641"/>
                <a:gd name="T42" fmla="*/ 304 w 641"/>
                <a:gd name="T43" fmla="*/ 0 h 641"/>
                <a:gd name="T44" fmla="*/ 337 w 641"/>
                <a:gd name="T45" fmla="*/ 0 h 641"/>
                <a:gd name="T46" fmla="*/ 385 w 641"/>
                <a:gd name="T47" fmla="*/ 6 h 641"/>
                <a:gd name="T48" fmla="*/ 431 w 641"/>
                <a:gd name="T49" fmla="*/ 20 h 641"/>
                <a:gd name="T50" fmla="*/ 473 w 641"/>
                <a:gd name="T51" fmla="*/ 39 h 641"/>
                <a:gd name="T52" fmla="*/ 512 w 641"/>
                <a:gd name="T53" fmla="*/ 64 h 641"/>
                <a:gd name="T54" fmla="*/ 547 w 641"/>
                <a:gd name="T55" fmla="*/ 94 h 641"/>
                <a:gd name="T56" fmla="*/ 577 w 641"/>
                <a:gd name="T57" fmla="*/ 129 h 641"/>
                <a:gd name="T58" fmla="*/ 602 w 641"/>
                <a:gd name="T59" fmla="*/ 168 h 641"/>
                <a:gd name="T60" fmla="*/ 622 w 641"/>
                <a:gd name="T61" fmla="*/ 210 h 641"/>
                <a:gd name="T62" fmla="*/ 635 w 641"/>
                <a:gd name="T63" fmla="*/ 256 h 641"/>
                <a:gd name="T64" fmla="*/ 641 w 641"/>
                <a:gd name="T65" fmla="*/ 304 h 641"/>
                <a:gd name="T66" fmla="*/ 641 w 641"/>
                <a:gd name="T67" fmla="*/ 337 h 641"/>
                <a:gd name="T68" fmla="*/ 635 w 641"/>
                <a:gd name="T69" fmla="*/ 385 h 641"/>
                <a:gd name="T70" fmla="*/ 622 w 641"/>
                <a:gd name="T71" fmla="*/ 431 h 641"/>
                <a:gd name="T72" fmla="*/ 602 w 641"/>
                <a:gd name="T73" fmla="*/ 473 h 641"/>
                <a:gd name="T74" fmla="*/ 577 w 641"/>
                <a:gd name="T75" fmla="*/ 512 h 641"/>
                <a:gd name="T76" fmla="*/ 547 w 641"/>
                <a:gd name="T77" fmla="*/ 547 h 641"/>
                <a:gd name="T78" fmla="*/ 512 w 641"/>
                <a:gd name="T79" fmla="*/ 577 h 641"/>
                <a:gd name="T80" fmla="*/ 473 w 641"/>
                <a:gd name="T81" fmla="*/ 602 h 641"/>
                <a:gd name="T82" fmla="*/ 431 w 641"/>
                <a:gd name="T83" fmla="*/ 622 h 641"/>
                <a:gd name="T84" fmla="*/ 385 w 641"/>
                <a:gd name="T85" fmla="*/ 635 h 641"/>
                <a:gd name="T86" fmla="*/ 337 w 641"/>
                <a:gd name="T87"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41">
                  <a:moveTo>
                    <a:pt x="321" y="641"/>
                  </a:moveTo>
                  <a:lnTo>
                    <a:pt x="321" y="641"/>
                  </a:lnTo>
                  <a:lnTo>
                    <a:pt x="304" y="641"/>
                  </a:lnTo>
                  <a:lnTo>
                    <a:pt x="287" y="640"/>
                  </a:lnTo>
                  <a:lnTo>
                    <a:pt x="272" y="637"/>
                  </a:lnTo>
                  <a:lnTo>
                    <a:pt x="256" y="635"/>
                  </a:lnTo>
                  <a:lnTo>
                    <a:pt x="240" y="631"/>
                  </a:lnTo>
                  <a:lnTo>
                    <a:pt x="226" y="627"/>
                  </a:lnTo>
                  <a:lnTo>
                    <a:pt x="210" y="622"/>
                  </a:lnTo>
                  <a:lnTo>
                    <a:pt x="196" y="616"/>
                  </a:lnTo>
                  <a:lnTo>
                    <a:pt x="181" y="610"/>
                  </a:lnTo>
                  <a:lnTo>
                    <a:pt x="168" y="602"/>
                  </a:lnTo>
                  <a:lnTo>
                    <a:pt x="155" y="595"/>
                  </a:lnTo>
                  <a:lnTo>
                    <a:pt x="141" y="587"/>
                  </a:lnTo>
                  <a:lnTo>
                    <a:pt x="129" y="577"/>
                  </a:lnTo>
                  <a:lnTo>
                    <a:pt x="117" y="567"/>
                  </a:lnTo>
                  <a:lnTo>
                    <a:pt x="105" y="558"/>
                  </a:lnTo>
                  <a:lnTo>
                    <a:pt x="94" y="547"/>
                  </a:lnTo>
                  <a:lnTo>
                    <a:pt x="83" y="536"/>
                  </a:lnTo>
                  <a:lnTo>
                    <a:pt x="74" y="524"/>
                  </a:lnTo>
                  <a:lnTo>
                    <a:pt x="64" y="512"/>
                  </a:lnTo>
                  <a:lnTo>
                    <a:pt x="54" y="500"/>
                  </a:lnTo>
                  <a:lnTo>
                    <a:pt x="46" y="487"/>
                  </a:lnTo>
                  <a:lnTo>
                    <a:pt x="39" y="473"/>
                  </a:lnTo>
                  <a:lnTo>
                    <a:pt x="31" y="460"/>
                  </a:lnTo>
                  <a:lnTo>
                    <a:pt x="25" y="446"/>
                  </a:lnTo>
                  <a:lnTo>
                    <a:pt x="19" y="431"/>
                  </a:lnTo>
                  <a:lnTo>
                    <a:pt x="15" y="415"/>
                  </a:lnTo>
                  <a:lnTo>
                    <a:pt x="10" y="401"/>
                  </a:lnTo>
                  <a:lnTo>
                    <a:pt x="6" y="385"/>
                  </a:lnTo>
                  <a:lnTo>
                    <a:pt x="4" y="370"/>
                  </a:lnTo>
                  <a:lnTo>
                    <a:pt x="1" y="354"/>
                  </a:lnTo>
                  <a:lnTo>
                    <a:pt x="0" y="337"/>
                  </a:lnTo>
                  <a:lnTo>
                    <a:pt x="0" y="320"/>
                  </a:lnTo>
                  <a:lnTo>
                    <a:pt x="0" y="320"/>
                  </a:lnTo>
                  <a:lnTo>
                    <a:pt x="0" y="304"/>
                  </a:lnTo>
                  <a:lnTo>
                    <a:pt x="1" y="287"/>
                  </a:lnTo>
                  <a:lnTo>
                    <a:pt x="4" y="272"/>
                  </a:lnTo>
                  <a:lnTo>
                    <a:pt x="6" y="256"/>
                  </a:lnTo>
                  <a:lnTo>
                    <a:pt x="10" y="240"/>
                  </a:lnTo>
                  <a:lnTo>
                    <a:pt x="15" y="226"/>
                  </a:lnTo>
                  <a:lnTo>
                    <a:pt x="19" y="210"/>
                  </a:lnTo>
                  <a:lnTo>
                    <a:pt x="25" y="196"/>
                  </a:lnTo>
                  <a:lnTo>
                    <a:pt x="31" y="181"/>
                  </a:lnTo>
                  <a:lnTo>
                    <a:pt x="39" y="168"/>
                  </a:lnTo>
                  <a:lnTo>
                    <a:pt x="46" y="155"/>
                  </a:lnTo>
                  <a:lnTo>
                    <a:pt x="54" y="141"/>
                  </a:lnTo>
                  <a:lnTo>
                    <a:pt x="64" y="129"/>
                  </a:lnTo>
                  <a:lnTo>
                    <a:pt x="74" y="117"/>
                  </a:lnTo>
                  <a:lnTo>
                    <a:pt x="83" y="105"/>
                  </a:lnTo>
                  <a:lnTo>
                    <a:pt x="94" y="94"/>
                  </a:lnTo>
                  <a:lnTo>
                    <a:pt x="105" y="84"/>
                  </a:lnTo>
                  <a:lnTo>
                    <a:pt x="117" y="74"/>
                  </a:lnTo>
                  <a:lnTo>
                    <a:pt x="129" y="64"/>
                  </a:lnTo>
                  <a:lnTo>
                    <a:pt x="141" y="55"/>
                  </a:lnTo>
                  <a:lnTo>
                    <a:pt x="155" y="46"/>
                  </a:lnTo>
                  <a:lnTo>
                    <a:pt x="168" y="39"/>
                  </a:lnTo>
                  <a:lnTo>
                    <a:pt x="181" y="32"/>
                  </a:lnTo>
                  <a:lnTo>
                    <a:pt x="196" y="26"/>
                  </a:lnTo>
                  <a:lnTo>
                    <a:pt x="210" y="20"/>
                  </a:lnTo>
                  <a:lnTo>
                    <a:pt x="226" y="15"/>
                  </a:lnTo>
                  <a:lnTo>
                    <a:pt x="240" y="10"/>
                  </a:lnTo>
                  <a:lnTo>
                    <a:pt x="256" y="6"/>
                  </a:lnTo>
                  <a:lnTo>
                    <a:pt x="272" y="4"/>
                  </a:lnTo>
                  <a:lnTo>
                    <a:pt x="287" y="1"/>
                  </a:lnTo>
                  <a:lnTo>
                    <a:pt x="304" y="0"/>
                  </a:lnTo>
                  <a:lnTo>
                    <a:pt x="321" y="0"/>
                  </a:lnTo>
                  <a:lnTo>
                    <a:pt x="321" y="0"/>
                  </a:lnTo>
                  <a:lnTo>
                    <a:pt x="337" y="0"/>
                  </a:lnTo>
                  <a:lnTo>
                    <a:pt x="354" y="1"/>
                  </a:lnTo>
                  <a:lnTo>
                    <a:pt x="369" y="4"/>
                  </a:lnTo>
                  <a:lnTo>
                    <a:pt x="385" y="6"/>
                  </a:lnTo>
                  <a:lnTo>
                    <a:pt x="401" y="10"/>
                  </a:lnTo>
                  <a:lnTo>
                    <a:pt x="415" y="15"/>
                  </a:lnTo>
                  <a:lnTo>
                    <a:pt x="431" y="20"/>
                  </a:lnTo>
                  <a:lnTo>
                    <a:pt x="445" y="26"/>
                  </a:lnTo>
                  <a:lnTo>
                    <a:pt x="460" y="32"/>
                  </a:lnTo>
                  <a:lnTo>
                    <a:pt x="473" y="39"/>
                  </a:lnTo>
                  <a:lnTo>
                    <a:pt x="486" y="46"/>
                  </a:lnTo>
                  <a:lnTo>
                    <a:pt x="500" y="55"/>
                  </a:lnTo>
                  <a:lnTo>
                    <a:pt x="512" y="64"/>
                  </a:lnTo>
                  <a:lnTo>
                    <a:pt x="524" y="74"/>
                  </a:lnTo>
                  <a:lnTo>
                    <a:pt x="536" y="84"/>
                  </a:lnTo>
                  <a:lnTo>
                    <a:pt x="547" y="94"/>
                  </a:lnTo>
                  <a:lnTo>
                    <a:pt x="558" y="105"/>
                  </a:lnTo>
                  <a:lnTo>
                    <a:pt x="567" y="117"/>
                  </a:lnTo>
                  <a:lnTo>
                    <a:pt x="577" y="129"/>
                  </a:lnTo>
                  <a:lnTo>
                    <a:pt x="587" y="141"/>
                  </a:lnTo>
                  <a:lnTo>
                    <a:pt x="595" y="155"/>
                  </a:lnTo>
                  <a:lnTo>
                    <a:pt x="602" y="168"/>
                  </a:lnTo>
                  <a:lnTo>
                    <a:pt x="610" y="181"/>
                  </a:lnTo>
                  <a:lnTo>
                    <a:pt x="616" y="196"/>
                  </a:lnTo>
                  <a:lnTo>
                    <a:pt x="622" y="210"/>
                  </a:lnTo>
                  <a:lnTo>
                    <a:pt x="626" y="226"/>
                  </a:lnTo>
                  <a:lnTo>
                    <a:pt x="631" y="240"/>
                  </a:lnTo>
                  <a:lnTo>
                    <a:pt x="635" y="256"/>
                  </a:lnTo>
                  <a:lnTo>
                    <a:pt x="637" y="272"/>
                  </a:lnTo>
                  <a:lnTo>
                    <a:pt x="640" y="287"/>
                  </a:lnTo>
                  <a:lnTo>
                    <a:pt x="641" y="304"/>
                  </a:lnTo>
                  <a:lnTo>
                    <a:pt x="641" y="320"/>
                  </a:lnTo>
                  <a:lnTo>
                    <a:pt x="641" y="320"/>
                  </a:lnTo>
                  <a:lnTo>
                    <a:pt x="641" y="337"/>
                  </a:lnTo>
                  <a:lnTo>
                    <a:pt x="640" y="354"/>
                  </a:lnTo>
                  <a:lnTo>
                    <a:pt x="637" y="370"/>
                  </a:lnTo>
                  <a:lnTo>
                    <a:pt x="635" y="385"/>
                  </a:lnTo>
                  <a:lnTo>
                    <a:pt x="631" y="401"/>
                  </a:lnTo>
                  <a:lnTo>
                    <a:pt x="626" y="415"/>
                  </a:lnTo>
                  <a:lnTo>
                    <a:pt x="622" y="431"/>
                  </a:lnTo>
                  <a:lnTo>
                    <a:pt x="616" y="446"/>
                  </a:lnTo>
                  <a:lnTo>
                    <a:pt x="610" y="460"/>
                  </a:lnTo>
                  <a:lnTo>
                    <a:pt x="602" y="473"/>
                  </a:lnTo>
                  <a:lnTo>
                    <a:pt x="595" y="487"/>
                  </a:lnTo>
                  <a:lnTo>
                    <a:pt x="587" y="500"/>
                  </a:lnTo>
                  <a:lnTo>
                    <a:pt x="577" y="512"/>
                  </a:lnTo>
                  <a:lnTo>
                    <a:pt x="567" y="524"/>
                  </a:lnTo>
                  <a:lnTo>
                    <a:pt x="558" y="536"/>
                  </a:lnTo>
                  <a:lnTo>
                    <a:pt x="547" y="547"/>
                  </a:lnTo>
                  <a:lnTo>
                    <a:pt x="536" y="558"/>
                  </a:lnTo>
                  <a:lnTo>
                    <a:pt x="524" y="567"/>
                  </a:lnTo>
                  <a:lnTo>
                    <a:pt x="512" y="577"/>
                  </a:lnTo>
                  <a:lnTo>
                    <a:pt x="500" y="587"/>
                  </a:lnTo>
                  <a:lnTo>
                    <a:pt x="486" y="595"/>
                  </a:lnTo>
                  <a:lnTo>
                    <a:pt x="473" y="602"/>
                  </a:lnTo>
                  <a:lnTo>
                    <a:pt x="460" y="610"/>
                  </a:lnTo>
                  <a:lnTo>
                    <a:pt x="445" y="616"/>
                  </a:lnTo>
                  <a:lnTo>
                    <a:pt x="431" y="622"/>
                  </a:lnTo>
                  <a:lnTo>
                    <a:pt x="415" y="627"/>
                  </a:lnTo>
                  <a:lnTo>
                    <a:pt x="401" y="631"/>
                  </a:lnTo>
                  <a:lnTo>
                    <a:pt x="385" y="635"/>
                  </a:lnTo>
                  <a:lnTo>
                    <a:pt x="369" y="637"/>
                  </a:lnTo>
                  <a:lnTo>
                    <a:pt x="354" y="640"/>
                  </a:lnTo>
                  <a:lnTo>
                    <a:pt x="337" y="641"/>
                  </a:lnTo>
                  <a:lnTo>
                    <a:pt x="321" y="641"/>
                  </a:lnTo>
                  <a:lnTo>
                    <a:pt x="321" y="6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5" name="Freeform 21"/>
            <p:cNvSpPr>
              <a:spLocks/>
            </p:cNvSpPr>
            <p:nvPr/>
          </p:nvSpPr>
          <p:spPr bwMode="auto">
            <a:xfrm flipH="1">
              <a:off x="10340985" y="6386520"/>
              <a:ext cx="144463" cy="142876"/>
            </a:xfrm>
            <a:custGeom>
              <a:avLst/>
              <a:gdLst>
                <a:gd name="T0" fmla="*/ 182 w 363"/>
                <a:gd name="T1" fmla="*/ 363 h 363"/>
                <a:gd name="T2" fmla="*/ 145 w 363"/>
                <a:gd name="T3" fmla="*/ 360 h 363"/>
                <a:gd name="T4" fmla="*/ 111 w 363"/>
                <a:gd name="T5" fmla="*/ 349 h 363"/>
                <a:gd name="T6" fmla="*/ 80 w 363"/>
                <a:gd name="T7" fmla="*/ 332 h 363"/>
                <a:gd name="T8" fmla="*/ 53 w 363"/>
                <a:gd name="T9" fmla="*/ 310 h 363"/>
                <a:gd name="T10" fmla="*/ 31 w 363"/>
                <a:gd name="T11" fmla="*/ 284 h 363"/>
                <a:gd name="T12" fmla="*/ 14 w 363"/>
                <a:gd name="T13" fmla="*/ 252 h 363"/>
                <a:gd name="T14" fmla="*/ 4 w 363"/>
                <a:gd name="T15" fmla="*/ 218 h 363"/>
                <a:gd name="T16" fmla="*/ 0 w 363"/>
                <a:gd name="T17" fmla="*/ 181 h 363"/>
                <a:gd name="T18" fmla="*/ 1 w 363"/>
                <a:gd name="T19" fmla="*/ 163 h 363"/>
                <a:gd name="T20" fmla="*/ 8 w 363"/>
                <a:gd name="T21" fmla="*/ 128 h 363"/>
                <a:gd name="T22" fmla="*/ 22 w 363"/>
                <a:gd name="T23" fmla="*/ 95 h 363"/>
                <a:gd name="T24" fmla="*/ 41 w 363"/>
                <a:gd name="T25" fmla="*/ 66 h 363"/>
                <a:gd name="T26" fmla="*/ 66 w 363"/>
                <a:gd name="T27" fmla="*/ 41 h 363"/>
                <a:gd name="T28" fmla="*/ 95 w 363"/>
                <a:gd name="T29" fmla="*/ 22 h 363"/>
                <a:gd name="T30" fmla="*/ 128 w 363"/>
                <a:gd name="T31" fmla="*/ 8 h 363"/>
                <a:gd name="T32" fmla="*/ 163 w 363"/>
                <a:gd name="T33" fmla="*/ 1 h 363"/>
                <a:gd name="T34" fmla="*/ 182 w 363"/>
                <a:gd name="T35" fmla="*/ 0 h 363"/>
                <a:gd name="T36" fmla="*/ 218 w 363"/>
                <a:gd name="T37" fmla="*/ 4 h 363"/>
                <a:gd name="T38" fmla="*/ 252 w 363"/>
                <a:gd name="T39" fmla="*/ 15 h 363"/>
                <a:gd name="T40" fmla="*/ 283 w 363"/>
                <a:gd name="T41" fmla="*/ 31 h 363"/>
                <a:gd name="T42" fmla="*/ 310 w 363"/>
                <a:gd name="T43" fmla="*/ 53 h 363"/>
                <a:gd name="T44" fmla="*/ 332 w 363"/>
                <a:gd name="T45" fmla="*/ 80 h 363"/>
                <a:gd name="T46" fmla="*/ 349 w 363"/>
                <a:gd name="T47" fmla="*/ 111 h 363"/>
                <a:gd name="T48" fmla="*/ 360 w 363"/>
                <a:gd name="T49" fmla="*/ 145 h 363"/>
                <a:gd name="T50" fmla="*/ 363 w 363"/>
                <a:gd name="T51" fmla="*/ 181 h 363"/>
                <a:gd name="T52" fmla="*/ 362 w 363"/>
                <a:gd name="T53" fmla="*/ 200 h 363"/>
                <a:gd name="T54" fmla="*/ 355 w 363"/>
                <a:gd name="T55" fmla="*/ 235 h 363"/>
                <a:gd name="T56" fmla="*/ 341 w 363"/>
                <a:gd name="T57" fmla="*/ 268 h 363"/>
                <a:gd name="T58" fmla="*/ 322 w 363"/>
                <a:gd name="T59" fmla="*/ 297 h 363"/>
                <a:gd name="T60" fmla="*/ 297 w 363"/>
                <a:gd name="T61" fmla="*/ 322 h 363"/>
                <a:gd name="T62" fmla="*/ 268 w 363"/>
                <a:gd name="T63" fmla="*/ 342 h 363"/>
                <a:gd name="T64" fmla="*/ 235 w 363"/>
                <a:gd name="T65" fmla="*/ 355 h 363"/>
                <a:gd name="T66" fmla="*/ 200 w 363"/>
                <a:gd name="T67" fmla="*/ 362 h 363"/>
                <a:gd name="T68" fmla="*/ 182 w 363"/>
                <a:gd name="T69"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182" y="363"/>
                  </a:moveTo>
                  <a:lnTo>
                    <a:pt x="182" y="363"/>
                  </a:lnTo>
                  <a:lnTo>
                    <a:pt x="163" y="362"/>
                  </a:lnTo>
                  <a:lnTo>
                    <a:pt x="145" y="360"/>
                  </a:lnTo>
                  <a:lnTo>
                    <a:pt x="128" y="355"/>
                  </a:lnTo>
                  <a:lnTo>
                    <a:pt x="111" y="349"/>
                  </a:lnTo>
                  <a:lnTo>
                    <a:pt x="95" y="342"/>
                  </a:lnTo>
                  <a:lnTo>
                    <a:pt x="80" y="332"/>
                  </a:lnTo>
                  <a:lnTo>
                    <a:pt x="66" y="322"/>
                  </a:lnTo>
                  <a:lnTo>
                    <a:pt x="53" y="310"/>
                  </a:lnTo>
                  <a:lnTo>
                    <a:pt x="41" y="297"/>
                  </a:lnTo>
                  <a:lnTo>
                    <a:pt x="31" y="284"/>
                  </a:lnTo>
                  <a:lnTo>
                    <a:pt x="22" y="268"/>
                  </a:lnTo>
                  <a:lnTo>
                    <a:pt x="14" y="252"/>
                  </a:lnTo>
                  <a:lnTo>
                    <a:pt x="8" y="235"/>
                  </a:lnTo>
                  <a:lnTo>
                    <a:pt x="4" y="218"/>
                  </a:lnTo>
                  <a:lnTo>
                    <a:pt x="1" y="200"/>
                  </a:lnTo>
                  <a:lnTo>
                    <a:pt x="0" y="181"/>
                  </a:lnTo>
                  <a:lnTo>
                    <a:pt x="0" y="181"/>
                  </a:lnTo>
                  <a:lnTo>
                    <a:pt x="1" y="163"/>
                  </a:lnTo>
                  <a:lnTo>
                    <a:pt x="4" y="145"/>
                  </a:lnTo>
                  <a:lnTo>
                    <a:pt x="8" y="128"/>
                  </a:lnTo>
                  <a:lnTo>
                    <a:pt x="14" y="111"/>
                  </a:lnTo>
                  <a:lnTo>
                    <a:pt x="22" y="95"/>
                  </a:lnTo>
                  <a:lnTo>
                    <a:pt x="31" y="80"/>
                  </a:lnTo>
                  <a:lnTo>
                    <a:pt x="41" y="66"/>
                  </a:lnTo>
                  <a:lnTo>
                    <a:pt x="53" y="53"/>
                  </a:lnTo>
                  <a:lnTo>
                    <a:pt x="66" y="41"/>
                  </a:lnTo>
                  <a:lnTo>
                    <a:pt x="80" y="31"/>
                  </a:lnTo>
                  <a:lnTo>
                    <a:pt x="95" y="22"/>
                  </a:lnTo>
                  <a:lnTo>
                    <a:pt x="111" y="15"/>
                  </a:lnTo>
                  <a:lnTo>
                    <a:pt x="128" y="8"/>
                  </a:lnTo>
                  <a:lnTo>
                    <a:pt x="145" y="4"/>
                  </a:lnTo>
                  <a:lnTo>
                    <a:pt x="163" y="1"/>
                  </a:lnTo>
                  <a:lnTo>
                    <a:pt x="182" y="0"/>
                  </a:lnTo>
                  <a:lnTo>
                    <a:pt x="182" y="0"/>
                  </a:lnTo>
                  <a:lnTo>
                    <a:pt x="200" y="1"/>
                  </a:lnTo>
                  <a:lnTo>
                    <a:pt x="218" y="4"/>
                  </a:lnTo>
                  <a:lnTo>
                    <a:pt x="235" y="8"/>
                  </a:lnTo>
                  <a:lnTo>
                    <a:pt x="252" y="15"/>
                  </a:lnTo>
                  <a:lnTo>
                    <a:pt x="268" y="22"/>
                  </a:lnTo>
                  <a:lnTo>
                    <a:pt x="283" y="31"/>
                  </a:lnTo>
                  <a:lnTo>
                    <a:pt x="297" y="41"/>
                  </a:lnTo>
                  <a:lnTo>
                    <a:pt x="310" y="53"/>
                  </a:lnTo>
                  <a:lnTo>
                    <a:pt x="322" y="66"/>
                  </a:lnTo>
                  <a:lnTo>
                    <a:pt x="332" y="80"/>
                  </a:lnTo>
                  <a:lnTo>
                    <a:pt x="341" y="95"/>
                  </a:lnTo>
                  <a:lnTo>
                    <a:pt x="349" y="111"/>
                  </a:lnTo>
                  <a:lnTo>
                    <a:pt x="355" y="128"/>
                  </a:lnTo>
                  <a:lnTo>
                    <a:pt x="360" y="145"/>
                  </a:lnTo>
                  <a:lnTo>
                    <a:pt x="362" y="163"/>
                  </a:lnTo>
                  <a:lnTo>
                    <a:pt x="363" y="181"/>
                  </a:lnTo>
                  <a:lnTo>
                    <a:pt x="363" y="181"/>
                  </a:lnTo>
                  <a:lnTo>
                    <a:pt x="362" y="200"/>
                  </a:lnTo>
                  <a:lnTo>
                    <a:pt x="360" y="218"/>
                  </a:lnTo>
                  <a:lnTo>
                    <a:pt x="355" y="235"/>
                  </a:lnTo>
                  <a:lnTo>
                    <a:pt x="349" y="252"/>
                  </a:lnTo>
                  <a:lnTo>
                    <a:pt x="341" y="268"/>
                  </a:lnTo>
                  <a:lnTo>
                    <a:pt x="332" y="284"/>
                  </a:lnTo>
                  <a:lnTo>
                    <a:pt x="322" y="297"/>
                  </a:lnTo>
                  <a:lnTo>
                    <a:pt x="310" y="310"/>
                  </a:lnTo>
                  <a:lnTo>
                    <a:pt x="297" y="322"/>
                  </a:lnTo>
                  <a:lnTo>
                    <a:pt x="283" y="332"/>
                  </a:lnTo>
                  <a:lnTo>
                    <a:pt x="268" y="342"/>
                  </a:lnTo>
                  <a:lnTo>
                    <a:pt x="252" y="349"/>
                  </a:lnTo>
                  <a:lnTo>
                    <a:pt x="235" y="355"/>
                  </a:lnTo>
                  <a:lnTo>
                    <a:pt x="218" y="360"/>
                  </a:lnTo>
                  <a:lnTo>
                    <a:pt x="200" y="362"/>
                  </a:lnTo>
                  <a:lnTo>
                    <a:pt x="182" y="363"/>
                  </a:lnTo>
                  <a:lnTo>
                    <a:pt x="182"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6" name="Freeform 22"/>
            <p:cNvSpPr>
              <a:spLocks/>
            </p:cNvSpPr>
            <p:nvPr/>
          </p:nvSpPr>
          <p:spPr bwMode="auto">
            <a:xfrm flipH="1">
              <a:off x="10071110" y="5761042"/>
              <a:ext cx="1993902" cy="681038"/>
            </a:xfrm>
            <a:custGeom>
              <a:avLst/>
              <a:gdLst>
                <a:gd name="T0" fmla="*/ 1502 w 5024"/>
                <a:gd name="T1" fmla="*/ 719 h 1716"/>
                <a:gd name="T2" fmla="*/ 1488 w 5024"/>
                <a:gd name="T3" fmla="*/ 0 h 1716"/>
                <a:gd name="T4" fmla="*/ 1210 w 5024"/>
                <a:gd name="T5" fmla="*/ 16 h 1716"/>
                <a:gd name="T6" fmla="*/ 866 w 5024"/>
                <a:gd name="T7" fmla="*/ 70 h 1716"/>
                <a:gd name="T8" fmla="*/ 580 w 5024"/>
                <a:gd name="T9" fmla="*/ 183 h 1716"/>
                <a:gd name="T10" fmla="*/ 447 w 5024"/>
                <a:gd name="T11" fmla="*/ 286 h 1716"/>
                <a:gd name="T12" fmla="*/ 309 w 5024"/>
                <a:gd name="T13" fmla="*/ 447 h 1716"/>
                <a:gd name="T14" fmla="*/ 197 w 5024"/>
                <a:gd name="T15" fmla="*/ 638 h 1716"/>
                <a:gd name="T16" fmla="*/ 95 w 5024"/>
                <a:gd name="T17" fmla="*/ 883 h 1716"/>
                <a:gd name="T18" fmla="*/ 14 w 5024"/>
                <a:gd name="T19" fmla="*/ 1205 h 1716"/>
                <a:gd name="T20" fmla="*/ 13 w 5024"/>
                <a:gd name="T21" fmla="*/ 1280 h 1716"/>
                <a:gd name="T22" fmla="*/ 54 w 5024"/>
                <a:gd name="T23" fmla="*/ 1279 h 1716"/>
                <a:gd name="T24" fmla="*/ 136 w 5024"/>
                <a:gd name="T25" fmla="*/ 1225 h 1716"/>
                <a:gd name="T26" fmla="*/ 206 w 5024"/>
                <a:gd name="T27" fmla="*/ 1210 h 1716"/>
                <a:gd name="T28" fmla="*/ 252 w 5024"/>
                <a:gd name="T29" fmla="*/ 1232 h 1716"/>
                <a:gd name="T30" fmla="*/ 273 w 5024"/>
                <a:gd name="T31" fmla="*/ 1269 h 1716"/>
                <a:gd name="T32" fmla="*/ 267 w 5024"/>
                <a:gd name="T33" fmla="*/ 1355 h 1716"/>
                <a:gd name="T34" fmla="*/ 258 w 5024"/>
                <a:gd name="T35" fmla="*/ 1392 h 1716"/>
                <a:gd name="T36" fmla="*/ 1 w 5024"/>
                <a:gd name="T37" fmla="*/ 1401 h 1716"/>
                <a:gd name="T38" fmla="*/ 268 w 5024"/>
                <a:gd name="T39" fmla="*/ 1486 h 1716"/>
                <a:gd name="T40" fmla="*/ 286 w 5024"/>
                <a:gd name="T41" fmla="*/ 1512 h 1716"/>
                <a:gd name="T42" fmla="*/ 278 w 5024"/>
                <a:gd name="T43" fmla="*/ 1553 h 1716"/>
                <a:gd name="T44" fmla="*/ 5 w 5024"/>
                <a:gd name="T45" fmla="*/ 1561 h 1716"/>
                <a:gd name="T46" fmla="*/ 16 w 5024"/>
                <a:gd name="T47" fmla="*/ 1653 h 1716"/>
                <a:gd name="T48" fmla="*/ 54 w 5024"/>
                <a:gd name="T49" fmla="*/ 1695 h 1716"/>
                <a:gd name="T50" fmla="*/ 170 w 5024"/>
                <a:gd name="T51" fmla="*/ 1716 h 1716"/>
                <a:gd name="T52" fmla="*/ 366 w 5024"/>
                <a:gd name="T53" fmla="*/ 1711 h 1716"/>
                <a:gd name="T54" fmla="*/ 392 w 5024"/>
                <a:gd name="T55" fmla="*/ 1603 h 1716"/>
                <a:gd name="T56" fmla="*/ 447 w 5024"/>
                <a:gd name="T57" fmla="*/ 1509 h 1716"/>
                <a:gd name="T58" fmla="*/ 523 w 5024"/>
                <a:gd name="T59" fmla="*/ 1433 h 1716"/>
                <a:gd name="T60" fmla="*/ 618 w 5024"/>
                <a:gd name="T61" fmla="*/ 1380 h 1716"/>
                <a:gd name="T62" fmla="*/ 725 w 5024"/>
                <a:gd name="T63" fmla="*/ 1355 h 1716"/>
                <a:gd name="T64" fmla="*/ 821 w 5024"/>
                <a:gd name="T65" fmla="*/ 1357 h 1716"/>
                <a:gd name="T66" fmla="*/ 928 w 5024"/>
                <a:gd name="T67" fmla="*/ 1389 h 1716"/>
                <a:gd name="T68" fmla="*/ 1020 w 5024"/>
                <a:gd name="T69" fmla="*/ 1445 h 1716"/>
                <a:gd name="T70" fmla="*/ 1092 w 5024"/>
                <a:gd name="T71" fmla="*/ 1525 h 1716"/>
                <a:gd name="T72" fmla="*/ 1142 w 5024"/>
                <a:gd name="T73" fmla="*/ 1622 h 1716"/>
                <a:gd name="T74" fmla="*/ 1162 w 5024"/>
                <a:gd name="T75" fmla="*/ 1713 h 1716"/>
                <a:gd name="T76" fmla="*/ 2758 w 5024"/>
                <a:gd name="T77" fmla="*/ 1640 h 1716"/>
                <a:gd name="T78" fmla="*/ 2802 w 5024"/>
                <a:gd name="T79" fmla="*/ 1539 h 1716"/>
                <a:gd name="T80" fmla="*/ 2872 w 5024"/>
                <a:gd name="T81" fmla="*/ 1457 h 1716"/>
                <a:gd name="T82" fmla="*/ 2960 w 5024"/>
                <a:gd name="T83" fmla="*/ 1396 h 1716"/>
                <a:gd name="T84" fmla="*/ 3065 w 5024"/>
                <a:gd name="T85" fmla="*/ 1361 h 1716"/>
                <a:gd name="T86" fmla="*/ 3161 w 5024"/>
                <a:gd name="T87" fmla="*/ 1354 h 1716"/>
                <a:gd name="T88" fmla="*/ 3270 w 5024"/>
                <a:gd name="T89" fmla="*/ 1374 h 1716"/>
                <a:gd name="T90" fmla="*/ 3368 w 5024"/>
                <a:gd name="T91" fmla="*/ 1424 h 1716"/>
                <a:gd name="T92" fmla="*/ 3448 w 5024"/>
                <a:gd name="T93" fmla="*/ 1496 h 1716"/>
                <a:gd name="T94" fmla="*/ 3506 w 5024"/>
                <a:gd name="T95" fmla="*/ 1588 h 1716"/>
                <a:gd name="T96" fmla="*/ 3537 w 5024"/>
                <a:gd name="T97" fmla="*/ 1694 h 1716"/>
                <a:gd name="T98" fmla="*/ 3768 w 5024"/>
                <a:gd name="T99" fmla="*/ 1676 h 1716"/>
                <a:gd name="T100" fmla="*/ 3804 w 5024"/>
                <a:gd name="T101" fmla="*/ 1571 h 1716"/>
                <a:gd name="T102" fmla="*/ 3865 w 5024"/>
                <a:gd name="T103" fmla="*/ 1483 h 1716"/>
                <a:gd name="T104" fmla="*/ 3949 w 5024"/>
                <a:gd name="T105" fmla="*/ 1414 h 1716"/>
                <a:gd name="T106" fmla="*/ 4049 w 5024"/>
                <a:gd name="T107" fmla="*/ 1369 h 1716"/>
                <a:gd name="T108" fmla="*/ 4161 w 5024"/>
                <a:gd name="T109" fmla="*/ 1354 h 1716"/>
                <a:gd name="T110" fmla="*/ 4255 w 5024"/>
                <a:gd name="T111" fmla="*/ 1365 h 1716"/>
                <a:gd name="T112" fmla="*/ 4357 w 5024"/>
                <a:gd name="T113" fmla="*/ 1404 h 1716"/>
                <a:gd name="T114" fmla="*/ 4444 w 5024"/>
                <a:gd name="T115" fmla="*/ 1469 h 1716"/>
                <a:gd name="T116" fmla="*/ 4509 w 5024"/>
                <a:gd name="T117" fmla="*/ 1555 h 1716"/>
                <a:gd name="T118" fmla="*/ 4550 w 5024"/>
                <a:gd name="T119" fmla="*/ 1658 h 1716"/>
                <a:gd name="T120" fmla="*/ 4796 w 5024"/>
                <a:gd name="T121" fmla="*/ 1713 h 1716"/>
                <a:gd name="T122" fmla="*/ 4812 w 5024"/>
                <a:gd name="T123" fmla="*/ 1595 h 1716"/>
                <a:gd name="T124" fmla="*/ 4926 w 5024"/>
                <a:gd name="T125" fmla="*/ 1309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24" h="1716">
                  <a:moveTo>
                    <a:pt x="5024" y="1126"/>
                  </a:moveTo>
                  <a:lnTo>
                    <a:pt x="1499" y="1123"/>
                  </a:lnTo>
                  <a:lnTo>
                    <a:pt x="1499" y="1123"/>
                  </a:lnTo>
                  <a:lnTo>
                    <a:pt x="1500" y="1007"/>
                  </a:lnTo>
                  <a:lnTo>
                    <a:pt x="1501" y="878"/>
                  </a:lnTo>
                  <a:lnTo>
                    <a:pt x="1502" y="719"/>
                  </a:lnTo>
                  <a:lnTo>
                    <a:pt x="1502" y="539"/>
                  </a:lnTo>
                  <a:lnTo>
                    <a:pt x="1500" y="352"/>
                  </a:lnTo>
                  <a:lnTo>
                    <a:pt x="1498" y="259"/>
                  </a:lnTo>
                  <a:lnTo>
                    <a:pt x="1495" y="169"/>
                  </a:lnTo>
                  <a:lnTo>
                    <a:pt x="1493" y="82"/>
                  </a:lnTo>
                  <a:lnTo>
                    <a:pt x="1488" y="0"/>
                  </a:lnTo>
                  <a:lnTo>
                    <a:pt x="1488" y="0"/>
                  </a:lnTo>
                  <a:lnTo>
                    <a:pt x="1478" y="0"/>
                  </a:lnTo>
                  <a:lnTo>
                    <a:pt x="1478" y="0"/>
                  </a:lnTo>
                  <a:lnTo>
                    <a:pt x="1341" y="7"/>
                  </a:lnTo>
                  <a:lnTo>
                    <a:pt x="1274" y="11"/>
                  </a:lnTo>
                  <a:lnTo>
                    <a:pt x="1210" y="16"/>
                  </a:lnTo>
                  <a:lnTo>
                    <a:pt x="1149" y="22"/>
                  </a:lnTo>
                  <a:lnTo>
                    <a:pt x="1089" y="29"/>
                  </a:lnTo>
                  <a:lnTo>
                    <a:pt x="1031" y="37"/>
                  </a:lnTo>
                  <a:lnTo>
                    <a:pt x="974" y="46"/>
                  </a:lnTo>
                  <a:lnTo>
                    <a:pt x="920" y="57"/>
                  </a:lnTo>
                  <a:lnTo>
                    <a:pt x="866" y="70"/>
                  </a:lnTo>
                  <a:lnTo>
                    <a:pt x="815" y="83"/>
                  </a:lnTo>
                  <a:lnTo>
                    <a:pt x="765" y="99"/>
                  </a:lnTo>
                  <a:lnTo>
                    <a:pt x="717" y="117"/>
                  </a:lnTo>
                  <a:lnTo>
                    <a:pt x="670" y="137"/>
                  </a:lnTo>
                  <a:lnTo>
                    <a:pt x="625" y="159"/>
                  </a:lnTo>
                  <a:lnTo>
                    <a:pt x="580" y="183"/>
                  </a:lnTo>
                  <a:lnTo>
                    <a:pt x="580" y="183"/>
                  </a:lnTo>
                  <a:lnTo>
                    <a:pt x="553" y="201"/>
                  </a:lnTo>
                  <a:lnTo>
                    <a:pt x="525" y="221"/>
                  </a:lnTo>
                  <a:lnTo>
                    <a:pt x="498" y="241"/>
                  </a:lnTo>
                  <a:lnTo>
                    <a:pt x="472" y="263"/>
                  </a:lnTo>
                  <a:lnTo>
                    <a:pt x="447" y="286"/>
                  </a:lnTo>
                  <a:lnTo>
                    <a:pt x="422" y="310"/>
                  </a:lnTo>
                  <a:lnTo>
                    <a:pt x="398" y="335"/>
                  </a:lnTo>
                  <a:lnTo>
                    <a:pt x="375" y="362"/>
                  </a:lnTo>
                  <a:lnTo>
                    <a:pt x="352" y="390"/>
                  </a:lnTo>
                  <a:lnTo>
                    <a:pt x="331" y="419"/>
                  </a:lnTo>
                  <a:lnTo>
                    <a:pt x="309" y="447"/>
                  </a:lnTo>
                  <a:lnTo>
                    <a:pt x="288" y="478"/>
                  </a:lnTo>
                  <a:lnTo>
                    <a:pt x="269" y="508"/>
                  </a:lnTo>
                  <a:lnTo>
                    <a:pt x="250" y="540"/>
                  </a:lnTo>
                  <a:lnTo>
                    <a:pt x="232" y="572"/>
                  </a:lnTo>
                  <a:lnTo>
                    <a:pt x="214" y="606"/>
                  </a:lnTo>
                  <a:lnTo>
                    <a:pt x="197" y="638"/>
                  </a:lnTo>
                  <a:lnTo>
                    <a:pt x="180" y="672"/>
                  </a:lnTo>
                  <a:lnTo>
                    <a:pt x="164" y="707"/>
                  </a:lnTo>
                  <a:lnTo>
                    <a:pt x="150" y="742"/>
                  </a:lnTo>
                  <a:lnTo>
                    <a:pt x="135" y="777"/>
                  </a:lnTo>
                  <a:lnTo>
                    <a:pt x="121" y="812"/>
                  </a:lnTo>
                  <a:lnTo>
                    <a:pt x="95" y="883"/>
                  </a:lnTo>
                  <a:lnTo>
                    <a:pt x="72" y="954"/>
                  </a:lnTo>
                  <a:lnTo>
                    <a:pt x="53" y="1027"/>
                  </a:lnTo>
                  <a:lnTo>
                    <a:pt x="35" y="1098"/>
                  </a:lnTo>
                  <a:lnTo>
                    <a:pt x="19" y="1168"/>
                  </a:lnTo>
                  <a:lnTo>
                    <a:pt x="19" y="1168"/>
                  </a:lnTo>
                  <a:lnTo>
                    <a:pt x="14" y="1205"/>
                  </a:lnTo>
                  <a:lnTo>
                    <a:pt x="11" y="1226"/>
                  </a:lnTo>
                  <a:lnTo>
                    <a:pt x="10" y="1245"/>
                  </a:lnTo>
                  <a:lnTo>
                    <a:pt x="8" y="1263"/>
                  </a:lnTo>
                  <a:lnTo>
                    <a:pt x="10" y="1270"/>
                  </a:lnTo>
                  <a:lnTo>
                    <a:pt x="11" y="1276"/>
                  </a:lnTo>
                  <a:lnTo>
                    <a:pt x="13" y="1280"/>
                  </a:lnTo>
                  <a:lnTo>
                    <a:pt x="17" y="1284"/>
                  </a:lnTo>
                  <a:lnTo>
                    <a:pt x="22" y="1284"/>
                  </a:lnTo>
                  <a:lnTo>
                    <a:pt x="28" y="1282"/>
                  </a:lnTo>
                  <a:lnTo>
                    <a:pt x="28" y="1282"/>
                  </a:lnTo>
                  <a:lnTo>
                    <a:pt x="42" y="1281"/>
                  </a:lnTo>
                  <a:lnTo>
                    <a:pt x="54" y="1279"/>
                  </a:lnTo>
                  <a:lnTo>
                    <a:pt x="65" y="1275"/>
                  </a:lnTo>
                  <a:lnTo>
                    <a:pt x="76" y="1268"/>
                  </a:lnTo>
                  <a:lnTo>
                    <a:pt x="88" y="1261"/>
                  </a:lnTo>
                  <a:lnTo>
                    <a:pt x="101" y="1251"/>
                  </a:lnTo>
                  <a:lnTo>
                    <a:pt x="136" y="1225"/>
                  </a:lnTo>
                  <a:lnTo>
                    <a:pt x="136" y="1225"/>
                  </a:lnTo>
                  <a:lnTo>
                    <a:pt x="142" y="1221"/>
                  </a:lnTo>
                  <a:lnTo>
                    <a:pt x="150" y="1217"/>
                  </a:lnTo>
                  <a:lnTo>
                    <a:pt x="164" y="1212"/>
                  </a:lnTo>
                  <a:lnTo>
                    <a:pt x="181" y="1209"/>
                  </a:lnTo>
                  <a:lnTo>
                    <a:pt x="198" y="1209"/>
                  </a:lnTo>
                  <a:lnTo>
                    <a:pt x="206" y="1210"/>
                  </a:lnTo>
                  <a:lnTo>
                    <a:pt x="215" y="1212"/>
                  </a:lnTo>
                  <a:lnTo>
                    <a:pt x="223" y="1215"/>
                  </a:lnTo>
                  <a:lnTo>
                    <a:pt x="232" y="1217"/>
                  </a:lnTo>
                  <a:lnTo>
                    <a:pt x="239" y="1221"/>
                  </a:lnTo>
                  <a:lnTo>
                    <a:pt x="246" y="1226"/>
                  </a:lnTo>
                  <a:lnTo>
                    <a:pt x="252" y="1232"/>
                  </a:lnTo>
                  <a:lnTo>
                    <a:pt x="258" y="1238"/>
                  </a:lnTo>
                  <a:lnTo>
                    <a:pt x="258" y="1238"/>
                  </a:lnTo>
                  <a:lnTo>
                    <a:pt x="264" y="1245"/>
                  </a:lnTo>
                  <a:lnTo>
                    <a:pt x="268" y="1252"/>
                  </a:lnTo>
                  <a:lnTo>
                    <a:pt x="272" y="1261"/>
                  </a:lnTo>
                  <a:lnTo>
                    <a:pt x="273" y="1269"/>
                  </a:lnTo>
                  <a:lnTo>
                    <a:pt x="274" y="1278"/>
                  </a:lnTo>
                  <a:lnTo>
                    <a:pt x="275" y="1286"/>
                  </a:lnTo>
                  <a:lnTo>
                    <a:pt x="274" y="1303"/>
                  </a:lnTo>
                  <a:lnTo>
                    <a:pt x="272" y="1321"/>
                  </a:lnTo>
                  <a:lnTo>
                    <a:pt x="269" y="1338"/>
                  </a:lnTo>
                  <a:lnTo>
                    <a:pt x="267" y="1355"/>
                  </a:lnTo>
                  <a:lnTo>
                    <a:pt x="267" y="1372"/>
                  </a:lnTo>
                  <a:lnTo>
                    <a:pt x="267" y="1372"/>
                  </a:lnTo>
                  <a:lnTo>
                    <a:pt x="266" y="1378"/>
                  </a:lnTo>
                  <a:lnTo>
                    <a:pt x="264" y="1383"/>
                  </a:lnTo>
                  <a:lnTo>
                    <a:pt x="261" y="1387"/>
                  </a:lnTo>
                  <a:lnTo>
                    <a:pt x="258" y="1392"/>
                  </a:lnTo>
                  <a:lnTo>
                    <a:pt x="253" y="1396"/>
                  </a:lnTo>
                  <a:lnTo>
                    <a:pt x="249" y="1398"/>
                  </a:lnTo>
                  <a:lnTo>
                    <a:pt x="244" y="1400"/>
                  </a:lnTo>
                  <a:lnTo>
                    <a:pt x="238" y="1401"/>
                  </a:lnTo>
                  <a:lnTo>
                    <a:pt x="1" y="1401"/>
                  </a:lnTo>
                  <a:lnTo>
                    <a:pt x="1" y="1401"/>
                  </a:lnTo>
                  <a:lnTo>
                    <a:pt x="0" y="1445"/>
                  </a:lnTo>
                  <a:lnTo>
                    <a:pt x="0" y="1484"/>
                  </a:lnTo>
                  <a:lnTo>
                    <a:pt x="257" y="1484"/>
                  </a:lnTo>
                  <a:lnTo>
                    <a:pt x="257" y="1484"/>
                  </a:lnTo>
                  <a:lnTo>
                    <a:pt x="263" y="1484"/>
                  </a:lnTo>
                  <a:lnTo>
                    <a:pt x="268" y="1486"/>
                  </a:lnTo>
                  <a:lnTo>
                    <a:pt x="273" y="1489"/>
                  </a:lnTo>
                  <a:lnTo>
                    <a:pt x="278" y="1492"/>
                  </a:lnTo>
                  <a:lnTo>
                    <a:pt x="281" y="1496"/>
                  </a:lnTo>
                  <a:lnTo>
                    <a:pt x="284" y="1501"/>
                  </a:lnTo>
                  <a:lnTo>
                    <a:pt x="285" y="1507"/>
                  </a:lnTo>
                  <a:lnTo>
                    <a:pt x="286" y="1512"/>
                  </a:lnTo>
                  <a:lnTo>
                    <a:pt x="286" y="1532"/>
                  </a:lnTo>
                  <a:lnTo>
                    <a:pt x="286" y="1532"/>
                  </a:lnTo>
                  <a:lnTo>
                    <a:pt x="285" y="1538"/>
                  </a:lnTo>
                  <a:lnTo>
                    <a:pt x="284" y="1544"/>
                  </a:lnTo>
                  <a:lnTo>
                    <a:pt x="281" y="1549"/>
                  </a:lnTo>
                  <a:lnTo>
                    <a:pt x="278" y="1553"/>
                  </a:lnTo>
                  <a:lnTo>
                    <a:pt x="273" y="1556"/>
                  </a:lnTo>
                  <a:lnTo>
                    <a:pt x="268" y="1559"/>
                  </a:lnTo>
                  <a:lnTo>
                    <a:pt x="263" y="1561"/>
                  </a:lnTo>
                  <a:lnTo>
                    <a:pt x="257" y="1561"/>
                  </a:lnTo>
                  <a:lnTo>
                    <a:pt x="5" y="1561"/>
                  </a:lnTo>
                  <a:lnTo>
                    <a:pt x="5" y="1561"/>
                  </a:lnTo>
                  <a:lnTo>
                    <a:pt x="8" y="1601"/>
                  </a:lnTo>
                  <a:lnTo>
                    <a:pt x="10" y="1617"/>
                  </a:lnTo>
                  <a:lnTo>
                    <a:pt x="10" y="1631"/>
                  </a:lnTo>
                  <a:lnTo>
                    <a:pt x="10" y="1631"/>
                  </a:lnTo>
                  <a:lnTo>
                    <a:pt x="12" y="1642"/>
                  </a:lnTo>
                  <a:lnTo>
                    <a:pt x="16" y="1653"/>
                  </a:lnTo>
                  <a:lnTo>
                    <a:pt x="21" y="1661"/>
                  </a:lnTo>
                  <a:lnTo>
                    <a:pt x="25" y="1670"/>
                  </a:lnTo>
                  <a:lnTo>
                    <a:pt x="31" y="1678"/>
                  </a:lnTo>
                  <a:lnTo>
                    <a:pt x="39" y="1684"/>
                  </a:lnTo>
                  <a:lnTo>
                    <a:pt x="46" y="1690"/>
                  </a:lnTo>
                  <a:lnTo>
                    <a:pt x="54" y="1695"/>
                  </a:lnTo>
                  <a:lnTo>
                    <a:pt x="64" y="1700"/>
                  </a:lnTo>
                  <a:lnTo>
                    <a:pt x="74" y="1704"/>
                  </a:lnTo>
                  <a:lnTo>
                    <a:pt x="94" y="1710"/>
                  </a:lnTo>
                  <a:lnTo>
                    <a:pt x="118" y="1713"/>
                  </a:lnTo>
                  <a:lnTo>
                    <a:pt x="144" y="1716"/>
                  </a:lnTo>
                  <a:lnTo>
                    <a:pt x="170" y="1716"/>
                  </a:lnTo>
                  <a:lnTo>
                    <a:pt x="197" y="1716"/>
                  </a:lnTo>
                  <a:lnTo>
                    <a:pt x="255" y="1713"/>
                  </a:lnTo>
                  <a:lnTo>
                    <a:pt x="311" y="1711"/>
                  </a:lnTo>
                  <a:lnTo>
                    <a:pt x="339" y="1710"/>
                  </a:lnTo>
                  <a:lnTo>
                    <a:pt x="366" y="1711"/>
                  </a:lnTo>
                  <a:lnTo>
                    <a:pt x="366" y="1711"/>
                  </a:lnTo>
                  <a:lnTo>
                    <a:pt x="368" y="1692"/>
                  </a:lnTo>
                  <a:lnTo>
                    <a:pt x="372" y="1673"/>
                  </a:lnTo>
                  <a:lnTo>
                    <a:pt x="375" y="1655"/>
                  </a:lnTo>
                  <a:lnTo>
                    <a:pt x="380" y="1637"/>
                  </a:lnTo>
                  <a:lnTo>
                    <a:pt x="386" y="1620"/>
                  </a:lnTo>
                  <a:lnTo>
                    <a:pt x="392" y="1603"/>
                  </a:lnTo>
                  <a:lnTo>
                    <a:pt x="399" y="1587"/>
                  </a:lnTo>
                  <a:lnTo>
                    <a:pt x="408" y="1570"/>
                  </a:lnTo>
                  <a:lnTo>
                    <a:pt x="416" y="1554"/>
                  </a:lnTo>
                  <a:lnTo>
                    <a:pt x="426" y="1538"/>
                  </a:lnTo>
                  <a:lnTo>
                    <a:pt x="436" y="1524"/>
                  </a:lnTo>
                  <a:lnTo>
                    <a:pt x="447" y="1509"/>
                  </a:lnTo>
                  <a:lnTo>
                    <a:pt x="459" y="1495"/>
                  </a:lnTo>
                  <a:lnTo>
                    <a:pt x="469" y="1482"/>
                  </a:lnTo>
                  <a:lnTo>
                    <a:pt x="483" y="1468"/>
                  </a:lnTo>
                  <a:lnTo>
                    <a:pt x="496" y="1456"/>
                  </a:lnTo>
                  <a:lnTo>
                    <a:pt x="509" y="1444"/>
                  </a:lnTo>
                  <a:lnTo>
                    <a:pt x="523" y="1433"/>
                  </a:lnTo>
                  <a:lnTo>
                    <a:pt x="538" y="1424"/>
                  </a:lnTo>
                  <a:lnTo>
                    <a:pt x="553" y="1413"/>
                  </a:lnTo>
                  <a:lnTo>
                    <a:pt x="568" y="1404"/>
                  </a:lnTo>
                  <a:lnTo>
                    <a:pt x="584" y="1396"/>
                  </a:lnTo>
                  <a:lnTo>
                    <a:pt x="601" y="1387"/>
                  </a:lnTo>
                  <a:lnTo>
                    <a:pt x="618" y="1380"/>
                  </a:lnTo>
                  <a:lnTo>
                    <a:pt x="635" y="1374"/>
                  </a:lnTo>
                  <a:lnTo>
                    <a:pt x="653" y="1369"/>
                  </a:lnTo>
                  <a:lnTo>
                    <a:pt x="670" y="1365"/>
                  </a:lnTo>
                  <a:lnTo>
                    <a:pt x="688" y="1360"/>
                  </a:lnTo>
                  <a:lnTo>
                    <a:pt x="707" y="1357"/>
                  </a:lnTo>
                  <a:lnTo>
                    <a:pt x="725" y="1355"/>
                  </a:lnTo>
                  <a:lnTo>
                    <a:pt x="745" y="1354"/>
                  </a:lnTo>
                  <a:lnTo>
                    <a:pt x="764" y="1354"/>
                  </a:lnTo>
                  <a:lnTo>
                    <a:pt x="764" y="1354"/>
                  </a:lnTo>
                  <a:lnTo>
                    <a:pt x="783" y="1354"/>
                  </a:lnTo>
                  <a:lnTo>
                    <a:pt x="803" y="1355"/>
                  </a:lnTo>
                  <a:lnTo>
                    <a:pt x="821" y="1357"/>
                  </a:lnTo>
                  <a:lnTo>
                    <a:pt x="840" y="1361"/>
                  </a:lnTo>
                  <a:lnTo>
                    <a:pt x="858" y="1365"/>
                  </a:lnTo>
                  <a:lnTo>
                    <a:pt x="876" y="1369"/>
                  </a:lnTo>
                  <a:lnTo>
                    <a:pt x="893" y="1374"/>
                  </a:lnTo>
                  <a:lnTo>
                    <a:pt x="911" y="1381"/>
                  </a:lnTo>
                  <a:lnTo>
                    <a:pt x="928" y="1389"/>
                  </a:lnTo>
                  <a:lnTo>
                    <a:pt x="944" y="1396"/>
                  </a:lnTo>
                  <a:lnTo>
                    <a:pt x="961" y="1404"/>
                  </a:lnTo>
                  <a:lnTo>
                    <a:pt x="976" y="1414"/>
                  </a:lnTo>
                  <a:lnTo>
                    <a:pt x="991" y="1424"/>
                  </a:lnTo>
                  <a:lnTo>
                    <a:pt x="1005" y="1434"/>
                  </a:lnTo>
                  <a:lnTo>
                    <a:pt x="1020" y="1445"/>
                  </a:lnTo>
                  <a:lnTo>
                    <a:pt x="1033" y="1457"/>
                  </a:lnTo>
                  <a:lnTo>
                    <a:pt x="1046" y="1469"/>
                  </a:lnTo>
                  <a:lnTo>
                    <a:pt x="1058" y="1483"/>
                  </a:lnTo>
                  <a:lnTo>
                    <a:pt x="1070" y="1496"/>
                  </a:lnTo>
                  <a:lnTo>
                    <a:pt x="1083" y="1511"/>
                  </a:lnTo>
                  <a:lnTo>
                    <a:pt x="1092" y="1525"/>
                  </a:lnTo>
                  <a:lnTo>
                    <a:pt x="1103" y="1539"/>
                  </a:lnTo>
                  <a:lnTo>
                    <a:pt x="1111" y="1555"/>
                  </a:lnTo>
                  <a:lnTo>
                    <a:pt x="1121" y="1571"/>
                  </a:lnTo>
                  <a:lnTo>
                    <a:pt x="1128" y="1588"/>
                  </a:lnTo>
                  <a:lnTo>
                    <a:pt x="1136" y="1605"/>
                  </a:lnTo>
                  <a:lnTo>
                    <a:pt x="1142" y="1622"/>
                  </a:lnTo>
                  <a:lnTo>
                    <a:pt x="1148" y="1640"/>
                  </a:lnTo>
                  <a:lnTo>
                    <a:pt x="1153" y="1658"/>
                  </a:lnTo>
                  <a:lnTo>
                    <a:pt x="1157" y="1676"/>
                  </a:lnTo>
                  <a:lnTo>
                    <a:pt x="1160" y="1694"/>
                  </a:lnTo>
                  <a:lnTo>
                    <a:pt x="1162" y="1713"/>
                  </a:lnTo>
                  <a:lnTo>
                    <a:pt x="1162" y="1713"/>
                  </a:lnTo>
                  <a:lnTo>
                    <a:pt x="2743" y="1713"/>
                  </a:lnTo>
                  <a:lnTo>
                    <a:pt x="2743" y="1713"/>
                  </a:lnTo>
                  <a:lnTo>
                    <a:pt x="2746" y="1694"/>
                  </a:lnTo>
                  <a:lnTo>
                    <a:pt x="2748" y="1676"/>
                  </a:lnTo>
                  <a:lnTo>
                    <a:pt x="2753" y="1658"/>
                  </a:lnTo>
                  <a:lnTo>
                    <a:pt x="2758" y="1640"/>
                  </a:lnTo>
                  <a:lnTo>
                    <a:pt x="2762" y="1622"/>
                  </a:lnTo>
                  <a:lnTo>
                    <a:pt x="2770" y="1605"/>
                  </a:lnTo>
                  <a:lnTo>
                    <a:pt x="2777" y="1588"/>
                  </a:lnTo>
                  <a:lnTo>
                    <a:pt x="2784" y="1571"/>
                  </a:lnTo>
                  <a:lnTo>
                    <a:pt x="2793" y="1555"/>
                  </a:lnTo>
                  <a:lnTo>
                    <a:pt x="2802" y="1539"/>
                  </a:lnTo>
                  <a:lnTo>
                    <a:pt x="2812" y="1525"/>
                  </a:lnTo>
                  <a:lnTo>
                    <a:pt x="2823" y="1511"/>
                  </a:lnTo>
                  <a:lnTo>
                    <a:pt x="2835" y="1496"/>
                  </a:lnTo>
                  <a:lnTo>
                    <a:pt x="2846" y="1483"/>
                  </a:lnTo>
                  <a:lnTo>
                    <a:pt x="2859" y="1469"/>
                  </a:lnTo>
                  <a:lnTo>
                    <a:pt x="2872" y="1457"/>
                  </a:lnTo>
                  <a:lnTo>
                    <a:pt x="2886" y="1445"/>
                  </a:lnTo>
                  <a:lnTo>
                    <a:pt x="2900" y="1434"/>
                  </a:lnTo>
                  <a:lnTo>
                    <a:pt x="2914" y="1424"/>
                  </a:lnTo>
                  <a:lnTo>
                    <a:pt x="2929" y="1414"/>
                  </a:lnTo>
                  <a:lnTo>
                    <a:pt x="2945" y="1404"/>
                  </a:lnTo>
                  <a:lnTo>
                    <a:pt x="2960" y="1396"/>
                  </a:lnTo>
                  <a:lnTo>
                    <a:pt x="2977" y="1389"/>
                  </a:lnTo>
                  <a:lnTo>
                    <a:pt x="2994" y="1381"/>
                  </a:lnTo>
                  <a:lnTo>
                    <a:pt x="3011" y="1374"/>
                  </a:lnTo>
                  <a:lnTo>
                    <a:pt x="3029" y="1369"/>
                  </a:lnTo>
                  <a:lnTo>
                    <a:pt x="3047" y="1365"/>
                  </a:lnTo>
                  <a:lnTo>
                    <a:pt x="3065" y="1361"/>
                  </a:lnTo>
                  <a:lnTo>
                    <a:pt x="3083" y="1357"/>
                  </a:lnTo>
                  <a:lnTo>
                    <a:pt x="3103" y="1355"/>
                  </a:lnTo>
                  <a:lnTo>
                    <a:pt x="3122" y="1354"/>
                  </a:lnTo>
                  <a:lnTo>
                    <a:pt x="3141" y="1354"/>
                  </a:lnTo>
                  <a:lnTo>
                    <a:pt x="3141" y="1354"/>
                  </a:lnTo>
                  <a:lnTo>
                    <a:pt x="3161" y="1354"/>
                  </a:lnTo>
                  <a:lnTo>
                    <a:pt x="3180" y="1355"/>
                  </a:lnTo>
                  <a:lnTo>
                    <a:pt x="3198" y="1357"/>
                  </a:lnTo>
                  <a:lnTo>
                    <a:pt x="3217" y="1361"/>
                  </a:lnTo>
                  <a:lnTo>
                    <a:pt x="3235" y="1365"/>
                  </a:lnTo>
                  <a:lnTo>
                    <a:pt x="3254" y="1369"/>
                  </a:lnTo>
                  <a:lnTo>
                    <a:pt x="3270" y="1374"/>
                  </a:lnTo>
                  <a:lnTo>
                    <a:pt x="3287" y="1381"/>
                  </a:lnTo>
                  <a:lnTo>
                    <a:pt x="3304" y="1389"/>
                  </a:lnTo>
                  <a:lnTo>
                    <a:pt x="3321" y="1396"/>
                  </a:lnTo>
                  <a:lnTo>
                    <a:pt x="3337" y="1404"/>
                  </a:lnTo>
                  <a:lnTo>
                    <a:pt x="3353" y="1414"/>
                  </a:lnTo>
                  <a:lnTo>
                    <a:pt x="3368" y="1424"/>
                  </a:lnTo>
                  <a:lnTo>
                    <a:pt x="3383" y="1434"/>
                  </a:lnTo>
                  <a:lnTo>
                    <a:pt x="3397" y="1445"/>
                  </a:lnTo>
                  <a:lnTo>
                    <a:pt x="3410" y="1457"/>
                  </a:lnTo>
                  <a:lnTo>
                    <a:pt x="3424" y="1469"/>
                  </a:lnTo>
                  <a:lnTo>
                    <a:pt x="3436" y="1483"/>
                  </a:lnTo>
                  <a:lnTo>
                    <a:pt x="3448" y="1496"/>
                  </a:lnTo>
                  <a:lnTo>
                    <a:pt x="3459" y="1511"/>
                  </a:lnTo>
                  <a:lnTo>
                    <a:pt x="3470" y="1525"/>
                  </a:lnTo>
                  <a:lnTo>
                    <a:pt x="3479" y="1539"/>
                  </a:lnTo>
                  <a:lnTo>
                    <a:pt x="3489" y="1555"/>
                  </a:lnTo>
                  <a:lnTo>
                    <a:pt x="3497" y="1571"/>
                  </a:lnTo>
                  <a:lnTo>
                    <a:pt x="3506" y="1588"/>
                  </a:lnTo>
                  <a:lnTo>
                    <a:pt x="3513" y="1605"/>
                  </a:lnTo>
                  <a:lnTo>
                    <a:pt x="3519" y="1622"/>
                  </a:lnTo>
                  <a:lnTo>
                    <a:pt x="3525" y="1640"/>
                  </a:lnTo>
                  <a:lnTo>
                    <a:pt x="3530" y="1658"/>
                  </a:lnTo>
                  <a:lnTo>
                    <a:pt x="3534" y="1676"/>
                  </a:lnTo>
                  <a:lnTo>
                    <a:pt x="3537" y="1694"/>
                  </a:lnTo>
                  <a:lnTo>
                    <a:pt x="3540" y="1713"/>
                  </a:lnTo>
                  <a:lnTo>
                    <a:pt x="3540" y="1713"/>
                  </a:lnTo>
                  <a:lnTo>
                    <a:pt x="3762" y="1713"/>
                  </a:lnTo>
                  <a:lnTo>
                    <a:pt x="3762" y="1713"/>
                  </a:lnTo>
                  <a:lnTo>
                    <a:pt x="3764" y="1694"/>
                  </a:lnTo>
                  <a:lnTo>
                    <a:pt x="3768" y="1676"/>
                  </a:lnTo>
                  <a:lnTo>
                    <a:pt x="3771" y="1658"/>
                  </a:lnTo>
                  <a:lnTo>
                    <a:pt x="3776" y="1640"/>
                  </a:lnTo>
                  <a:lnTo>
                    <a:pt x="3782" y="1622"/>
                  </a:lnTo>
                  <a:lnTo>
                    <a:pt x="3788" y="1605"/>
                  </a:lnTo>
                  <a:lnTo>
                    <a:pt x="3795" y="1588"/>
                  </a:lnTo>
                  <a:lnTo>
                    <a:pt x="3804" y="1571"/>
                  </a:lnTo>
                  <a:lnTo>
                    <a:pt x="3812" y="1555"/>
                  </a:lnTo>
                  <a:lnTo>
                    <a:pt x="3822" y="1539"/>
                  </a:lnTo>
                  <a:lnTo>
                    <a:pt x="3832" y="1525"/>
                  </a:lnTo>
                  <a:lnTo>
                    <a:pt x="3843" y="1511"/>
                  </a:lnTo>
                  <a:lnTo>
                    <a:pt x="3853" y="1496"/>
                  </a:lnTo>
                  <a:lnTo>
                    <a:pt x="3865" y="1483"/>
                  </a:lnTo>
                  <a:lnTo>
                    <a:pt x="3879" y="1469"/>
                  </a:lnTo>
                  <a:lnTo>
                    <a:pt x="3891" y="1457"/>
                  </a:lnTo>
                  <a:lnTo>
                    <a:pt x="3905" y="1445"/>
                  </a:lnTo>
                  <a:lnTo>
                    <a:pt x="3919" y="1434"/>
                  </a:lnTo>
                  <a:lnTo>
                    <a:pt x="3933" y="1424"/>
                  </a:lnTo>
                  <a:lnTo>
                    <a:pt x="3949" y="1414"/>
                  </a:lnTo>
                  <a:lnTo>
                    <a:pt x="3964" y="1404"/>
                  </a:lnTo>
                  <a:lnTo>
                    <a:pt x="3980" y="1396"/>
                  </a:lnTo>
                  <a:lnTo>
                    <a:pt x="3997" y="1389"/>
                  </a:lnTo>
                  <a:lnTo>
                    <a:pt x="4014" y="1381"/>
                  </a:lnTo>
                  <a:lnTo>
                    <a:pt x="4031" y="1374"/>
                  </a:lnTo>
                  <a:lnTo>
                    <a:pt x="4049" y="1369"/>
                  </a:lnTo>
                  <a:lnTo>
                    <a:pt x="4067" y="1365"/>
                  </a:lnTo>
                  <a:lnTo>
                    <a:pt x="4085" y="1361"/>
                  </a:lnTo>
                  <a:lnTo>
                    <a:pt x="4103" y="1357"/>
                  </a:lnTo>
                  <a:lnTo>
                    <a:pt x="4123" y="1355"/>
                  </a:lnTo>
                  <a:lnTo>
                    <a:pt x="4142" y="1354"/>
                  </a:lnTo>
                  <a:lnTo>
                    <a:pt x="4161" y="1354"/>
                  </a:lnTo>
                  <a:lnTo>
                    <a:pt x="4161" y="1354"/>
                  </a:lnTo>
                  <a:lnTo>
                    <a:pt x="4180" y="1354"/>
                  </a:lnTo>
                  <a:lnTo>
                    <a:pt x="4199" y="1355"/>
                  </a:lnTo>
                  <a:lnTo>
                    <a:pt x="4218" y="1357"/>
                  </a:lnTo>
                  <a:lnTo>
                    <a:pt x="4236" y="1361"/>
                  </a:lnTo>
                  <a:lnTo>
                    <a:pt x="4255" y="1365"/>
                  </a:lnTo>
                  <a:lnTo>
                    <a:pt x="4272" y="1369"/>
                  </a:lnTo>
                  <a:lnTo>
                    <a:pt x="4290" y="1374"/>
                  </a:lnTo>
                  <a:lnTo>
                    <a:pt x="4307" y="1381"/>
                  </a:lnTo>
                  <a:lnTo>
                    <a:pt x="4324" y="1389"/>
                  </a:lnTo>
                  <a:lnTo>
                    <a:pt x="4341" y="1396"/>
                  </a:lnTo>
                  <a:lnTo>
                    <a:pt x="4357" y="1404"/>
                  </a:lnTo>
                  <a:lnTo>
                    <a:pt x="4372" y="1414"/>
                  </a:lnTo>
                  <a:lnTo>
                    <a:pt x="4388" y="1424"/>
                  </a:lnTo>
                  <a:lnTo>
                    <a:pt x="4402" y="1434"/>
                  </a:lnTo>
                  <a:lnTo>
                    <a:pt x="4416" y="1445"/>
                  </a:lnTo>
                  <a:lnTo>
                    <a:pt x="4430" y="1457"/>
                  </a:lnTo>
                  <a:lnTo>
                    <a:pt x="4444" y="1469"/>
                  </a:lnTo>
                  <a:lnTo>
                    <a:pt x="4456" y="1483"/>
                  </a:lnTo>
                  <a:lnTo>
                    <a:pt x="4468" y="1496"/>
                  </a:lnTo>
                  <a:lnTo>
                    <a:pt x="4479" y="1511"/>
                  </a:lnTo>
                  <a:lnTo>
                    <a:pt x="4489" y="1525"/>
                  </a:lnTo>
                  <a:lnTo>
                    <a:pt x="4499" y="1539"/>
                  </a:lnTo>
                  <a:lnTo>
                    <a:pt x="4509" y="1555"/>
                  </a:lnTo>
                  <a:lnTo>
                    <a:pt x="4517" y="1571"/>
                  </a:lnTo>
                  <a:lnTo>
                    <a:pt x="4526" y="1588"/>
                  </a:lnTo>
                  <a:lnTo>
                    <a:pt x="4533" y="1605"/>
                  </a:lnTo>
                  <a:lnTo>
                    <a:pt x="4539" y="1622"/>
                  </a:lnTo>
                  <a:lnTo>
                    <a:pt x="4545" y="1640"/>
                  </a:lnTo>
                  <a:lnTo>
                    <a:pt x="4550" y="1658"/>
                  </a:lnTo>
                  <a:lnTo>
                    <a:pt x="4553" y="1676"/>
                  </a:lnTo>
                  <a:lnTo>
                    <a:pt x="4557" y="1694"/>
                  </a:lnTo>
                  <a:lnTo>
                    <a:pt x="4559" y="1713"/>
                  </a:lnTo>
                  <a:lnTo>
                    <a:pt x="4559" y="1713"/>
                  </a:lnTo>
                  <a:lnTo>
                    <a:pt x="4796" y="1713"/>
                  </a:lnTo>
                  <a:lnTo>
                    <a:pt x="4796" y="1713"/>
                  </a:lnTo>
                  <a:lnTo>
                    <a:pt x="4796" y="1696"/>
                  </a:lnTo>
                  <a:lnTo>
                    <a:pt x="4796" y="1678"/>
                  </a:lnTo>
                  <a:lnTo>
                    <a:pt x="4798" y="1659"/>
                  </a:lnTo>
                  <a:lnTo>
                    <a:pt x="4802" y="1638"/>
                  </a:lnTo>
                  <a:lnTo>
                    <a:pt x="4806" y="1617"/>
                  </a:lnTo>
                  <a:lnTo>
                    <a:pt x="4812" y="1595"/>
                  </a:lnTo>
                  <a:lnTo>
                    <a:pt x="4825" y="1549"/>
                  </a:lnTo>
                  <a:lnTo>
                    <a:pt x="4842" y="1501"/>
                  </a:lnTo>
                  <a:lnTo>
                    <a:pt x="4861" y="1451"/>
                  </a:lnTo>
                  <a:lnTo>
                    <a:pt x="4883" y="1402"/>
                  </a:lnTo>
                  <a:lnTo>
                    <a:pt x="4905" y="1355"/>
                  </a:lnTo>
                  <a:lnTo>
                    <a:pt x="4926" y="1309"/>
                  </a:lnTo>
                  <a:lnTo>
                    <a:pt x="4948" y="1266"/>
                  </a:lnTo>
                  <a:lnTo>
                    <a:pt x="4987" y="1193"/>
                  </a:lnTo>
                  <a:lnTo>
                    <a:pt x="5014" y="1144"/>
                  </a:lnTo>
                  <a:lnTo>
                    <a:pt x="5024" y="1126"/>
                  </a:lnTo>
                  <a:lnTo>
                    <a:pt x="5024" y="1126"/>
                  </a:lnTo>
                  <a:close/>
                </a:path>
              </a:pathLst>
            </a:cu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a:gradFill>
                  <a:gsLst>
                    <a:gs pos="0">
                      <a:srgbClr val="FFFFFF"/>
                    </a:gs>
                    <a:gs pos="100000">
                      <a:srgbClr val="FFFFFF"/>
                    </a:gs>
                  </a:gsLst>
                  <a:lin ang="5400000" scaled="0"/>
                </a:gradFill>
                <a:ea typeface="Segoe UI" pitchFamily="34" charset="0"/>
                <a:cs typeface="Segoe UI" pitchFamily="34" charset="0"/>
              </a:endParaRPr>
            </a:p>
          </p:txBody>
        </p:sp>
        <p:sp>
          <p:nvSpPr>
            <p:cNvPr id="647" name="Freeform 23"/>
            <p:cNvSpPr>
              <a:spLocks/>
            </p:cNvSpPr>
            <p:nvPr/>
          </p:nvSpPr>
          <p:spPr bwMode="auto">
            <a:xfrm flipH="1">
              <a:off x="11525250" y="5819775"/>
              <a:ext cx="425451" cy="249237"/>
            </a:xfrm>
            <a:custGeom>
              <a:avLst/>
              <a:gdLst>
                <a:gd name="T0" fmla="*/ 1074 w 1075"/>
                <a:gd name="T1" fmla="*/ 629 h 629"/>
                <a:gd name="T2" fmla="*/ 1074 w 1075"/>
                <a:gd name="T3" fmla="*/ 629 h 629"/>
                <a:gd name="T4" fmla="*/ 1075 w 1075"/>
                <a:gd name="T5" fmla="*/ 471 h 629"/>
                <a:gd name="T6" fmla="*/ 1075 w 1075"/>
                <a:gd name="T7" fmla="*/ 312 h 629"/>
                <a:gd name="T8" fmla="*/ 1074 w 1075"/>
                <a:gd name="T9" fmla="*/ 155 h 629"/>
                <a:gd name="T10" fmla="*/ 1072 w 1075"/>
                <a:gd name="T11" fmla="*/ 77 h 629"/>
                <a:gd name="T12" fmla="*/ 1070 w 1075"/>
                <a:gd name="T13" fmla="*/ 0 h 629"/>
                <a:gd name="T14" fmla="*/ 1070 w 1075"/>
                <a:gd name="T15" fmla="*/ 0 h 629"/>
                <a:gd name="T16" fmla="*/ 958 w 1075"/>
                <a:gd name="T17" fmla="*/ 8 h 629"/>
                <a:gd name="T18" fmla="*/ 905 w 1075"/>
                <a:gd name="T19" fmla="*/ 13 h 629"/>
                <a:gd name="T20" fmla="*/ 853 w 1075"/>
                <a:gd name="T21" fmla="*/ 18 h 629"/>
                <a:gd name="T22" fmla="*/ 804 w 1075"/>
                <a:gd name="T23" fmla="*/ 24 h 629"/>
                <a:gd name="T24" fmla="*/ 757 w 1075"/>
                <a:gd name="T25" fmla="*/ 31 h 629"/>
                <a:gd name="T26" fmla="*/ 711 w 1075"/>
                <a:gd name="T27" fmla="*/ 38 h 629"/>
                <a:gd name="T28" fmla="*/ 666 w 1075"/>
                <a:gd name="T29" fmla="*/ 47 h 629"/>
                <a:gd name="T30" fmla="*/ 624 w 1075"/>
                <a:gd name="T31" fmla="*/ 56 h 629"/>
                <a:gd name="T32" fmla="*/ 583 w 1075"/>
                <a:gd name="T33" fmla="*/ 67 h 629"/>
                <a:gd name="T34" fmla="*/ 543 w 1075"/>
                <a:gd name="T35" fmla="*/ 79 h 629"/>
                <a:gd name="T36" fmla="*/ 506 w 1075"/>
                <a:gd name="T37" fmla="*/ 93 h 629"/>
                <a:gd name="T38" fmla="*/ 468 w 1075"/>
                <a:gd name="T39" fmla="*/ 107 h 629"/>
                <a:gd name="T40" fmla="*/ 433 w 1075"/>
                <a:gd name="T41" fmla="*/ 123 h 629"/>
                <a:gd name="T42" fmla="*/ 399 w 1075"/>
                <a:gd name="T43" fmla="*/ 140 h 629"/>
                <a:gd name="T44" fmla="*/ 366 w 1075"/>
                <a:gd name="T45" fmla="*/ 158 h 629"/>
                <a:gd name="T46" fmla="*/ 366 w 1075"/>
                <a:gd name="T47" fmla="*/ 158 h 629"/>
                <a:gd name="T48" fmla="*/ 337 w 1075"/>
                <a:gd name="T49" fmla="*/ 177 h 629"/>
                <a:gd name="T50" fmla="*/ 309 w 1075"/>
                <a:gd name="T51" fmla="*/ 198 h 629"/>
                <a:gd name="T52" fmla="*/ 281 w 1075"/>
                <a:gd name="T53" fmla="*/ 219 h 629"/>
                <a:gd name="T54" fmla="*/ 255 w 1075"/>
                <a:gd name="T55" fmla="*/ 243 h 629"/>
                <a:gd name="T56" fmla="*/ 229 w 1075"/>
                <a:gd name="T57" fmla="*/ 269 h 629"/>
                <a:gd name="T58" fmla="*/ 204 w 1075"/>
                <a:gd name="T59" fmla="*/ 296 h 629"/>
                <a:gd name="T60" fmla="*/ 180 w 1075"/>
                <a:gd name="T61" fmla="*/ 324 h 629"/>
                <a:gd name="T62" fmla="*/ 157 w 1075"/>
                <a:gd name="T63" fmla="*/ 354 h 629"/>
                <a:gd name="T64" fmla="*/ 134 w 1075"/>
                <a:gd name="T65" fmla="*/ 386 h 629"/>
                <a:gd name="T66" fmla="*/ 112 w 1075"/>
                <a:gd name="T67" fmla="*/ 418 h 629"/>
                <a:gd name="T68" fmla="*/ 92 w 1075"/>
                <a:gd name="T69" fmla="*/ 451 h 629"/>
                <a:gd name="T70" fmla="*/ 72 w 1075"/>
                <a:gd name="T71" fmla="*/ 486 h 629"/>
                <a:gd name="T72" fmla="*/ 53 w 1075"/>
                <a:gd name="T73" fmla="*/ 521 h 629"/>
                <a:gd name="T74" fmla="*/ 35 w 1075"/>
                <a:gd name="T75" fmla="*/ 556 h 629"/>
                <a:gd name="T76" fmla="*/ 17 w 1075"/>
                <a:gd name="T77" fmla="*/ 592 h 629"/>
                <a:gd name="T78" fmla="*/ 0 w 1075"/>
                <a:gd name="T79" fmla="*/ 629 h 629"/>
                <a:gd name="T80" fmla="*/ 1074 w 1075"/>
                <a:gd name="T81" fmla="*/ 629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5" h="629">
                  <a:moveTo>
                    <a:pt x="1074" y="629"/>
                  </a:moveTo>
                  <a:lnTo>
                    <a:pt x="1074" y="629"/>
                  </a:lnTo>
                  <a:lnTo>
                    <a:pt x="1075" y="471"/>
                  </a:lnTo>
                  <a:lnTo>
                    <a:pt x="1075" y="312"/>
                  </a:lnTo>
                  <a:lnTo>
                    <a:pt x="1074" y="155"/>
                  </a:lnTo>
                  <a:lnTo>
                    <a:pt x="1072" y="77"/>
                  </a:lnTo>
                  <a:lnTo>
                    <a:pt x="1070" y="0"/>
                  </a:lnTo>
                  <a:lnTo>
                    <a:pt x="1070" y="0"/>
                  </a:lnTo>
                  <a:lnTo>
                    <a:pt x="958" y="8"/>
                  </a:lnTo>
                  <a:lnTo>
                    <a:pt x="905" y="13"/>
                  </a:lnTo>
                  <a:lnTo>
                    <a:pt x="853" y="18"/>
                  </a:lnTo>
                  <a:lnTo>
                    <a:pt x="804" y="24"/>
                  </a:lnTo>
                  <a:lnTo>
                    <a:pt x="757" y="31"/>
                  </a:lnTo>
                  <a:lnTo>
                    <a:pt x="711" y="38"/>
                  </a:lnTo>
                  <a:lnTo>
                    <a:pt x="666" y="47"/>
                  </a:lnTo>
                  <a:lnTo>
                    <a:pt x="624" y="56"/>
                  </a:lnTo>
                  <a:lnTo>
                    <a:pt x="583" y="67"/>
                  </a:lnTo>
                  <a:lnTo>
                    <a:pt x="543" y="79"/>
                  </a:lnTo>
                  <a:lnTo>
                    <a:pt x="506" y="93"/>
                  </a:lnTo>
                  <a:lnTo>
                    <a:pt x="468" y="107"/>
                  </a:lnTo>
                  <a:lnTo>
                    <a:pt x="433" y="123"/>
                  </a:lnTo>
                  <a:lnTo>
                    <a:pt x="399" y="140"/>
                  </a:lnTo>
                  <a:lnTo>
                    <a:pt x="366" y="158"/>
                  </a:lnTo>
                  <a:lnTo>
                    <a:pt x="366" y="158"/>
                  </a:lnTo>
                  <a:lnTo>
                    <a:pt x="337" y="177"/>
                  </a:lnTo>
                  <a:lnTo>
                    <a:pt x="309" y="198"/>
                  </a:lnTo>
                  <a:lnTo>
                    <a:pt x="281" y="219"/>
                  </a:lnTo>
                  <a:lnTo>
                    <a:pt x="255" y="243"/>
                  </a:lnTo>
                  <a:lnTo>
                    <a:pt x="229" y="269"/>
                  </a:lnTo>
                  <a:lnTo>
                    <a:pt x="204" y="296"/>
                  </a:lnTo>
                  <a:lnTo>
                    <a:pt x="180" y="324"/>
                  </a:lnTo>
                  <a:lnTo>
                    <a:pt x="157" y="354"/>
                  </a:lnTo>
                  <a:lnTo>
                    <a:pt x="134" y="386"/>
                  </a:lnTo>
                  <a:lnTo>
                    <a:pt x="112" y="418"/>
                  </a:lnTo>
                  <a:lnTo>
                    <a:pt x="92" y="451"/>
                  </a:lnTo>
                  <a:lnTo>
                    <a:pt x="72" y="486"/>
                  </a:lnTo>
                  <a:lnTo>
                    <a:pt x="53" y="521"/>
                  </a:lnTo>
                  <a:lnTo>
                    <a:pt x="35" y="556"/>
                  </a:lnTo>
                  <a:lnTo>
                    <a:pt x="17" y="592"/>
                  </a:lnTo>
                  <a:lnTo>
                    <a:pt x="0" y="629"/>
                  </a:lnTo>
                  <a:lnTo>
                    <a:pt x="1074" y="629"/>
                  </a:lnTo>
                  <a:close/>
                </a:path>
              </a:pathLst>
            </a:cu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648" name="Rectangle 647"/>
          <p:cNvSpPr/>
          <p:nvPr/>
        </p:nvSpPr>
        <p:spPr>
          <a:xfrm>
            <a:off x="3836070" y="1491335"/>
            <a:ext cx="1829347" cy="261610"/>
          </a:xfrm>
          <a:prstGeom prst="rect">
            <a:avLst/>
          </a:prstGeom>
        </p:spPr>
        <p:txBody>
          <a:bodyPr wrap="none">
            <a:spAutoFit/>
          </a:bodyPr>
          <a:lstStyle/>
          <a:p>
            <a:r>
              <a:rPr lang="en-US" sz="1100" dirty="0">
                <a:solidFill>
                  <a:srgbClr val="FFFFFF"/>
                </a:solidFill>
              </a:rPr>
              <a:t>GLOBAL FACILITY INSIGHT</a:t>
            </a:r>
          </a:p>
        </p:txBody>
      </p:sp>
      <p:grpSp>
        <p:nvGrpSpPr>
          <p:cNvPr id="649" name="Group 648"/>
          <p:cNvGrpSpPr/>
          <p:nvPr/>
        </p:nvGrpSpPr>
        <p:grpSpPr>
          <a:xfrm>
            <a:off x="554993" y="5309505"/>
            <a:ext cx="1362456" cy="1016609"/>
            <a:chOff x="2415027" y="4679389"/>
            <a:chExt cx="1876653" cy="540070"/>
          </a:xfrm>
        </p:grpSpPr>
        <p:sp>
          <p:nvSpPr>
            <p:cNvPr id="650" name="Rectangle 649"/>
            <p:cNvSpPr/>
            <p:nvPr/>
          </p:nvSpPr>
          <p:spPr bwMode="auto">
            <a:xfrm flipH="1">
              <a:off x="2415027" y="4679389"/>
              <a:ext cx="1876653" cy="540069"/>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ln w="3175">
                    <a:noFill/>
                  </a:ln>
                  <a:solidFill>
                    <a:srgbClr val="FFFFFF"/>
                  </a:solidFill>
                  <a:cs typeface="Arial" charset="0"/>
                </a:rPr>
                <a:t>Implement condition-based maintenance alerts to eliminate machine down-time and increase throughput. </a:t>
              </a:r>
            </a:p>
          </p:txBody>
        </p:sp>
        <p:cxnSp>
          <p:nvCxnSpPr>
            <p:cNvPr id="651" name="Straight Connector 650"/>
            <p:cNvCxnSpPr/>
            <p:nvPr/>
          </p:nvCxnSpPr>
          <p:spPr>
            <a:xfrm flipH="1" flipV="1">
              <a:off x="2415028" y="4679389"/>
              <a:ext cx="1" cy="540070"/>
            </a:xfrm>
            <a:prstGeom prst="line">
              <a:avLst/>
            </a:prstGeom>
            <a:solidFill>
              <a:srgbClr val="8DC548">
                <a:alpha val="50000"/>
              </a:srgb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652" name="Rectangle 651"/>
          <p:cNvSpPr/>
          <p:nvPr/>
        </p:nvSpPr>
        <p:spPr>
          <a:xfrm>
            <a:off x="7975358" y="6310321"/>
            <a:ext cx="1733167" cy="261610"/>
          </a:xfrm>
          <a:prstGeom prst="rect">
            <a:avLst/>
          </a:prstGeom>
        </p:spPr>
        <p:txBody>
          <a:bodyPr wrap="none">
            <a:spAutoFit/>
          </a:bodyPr>
          <a:lstStyle/>
          <a:p>
            <a:r>
              <a:rPr lang="en-US" sz="1100" dirty="0">
                <a:solidFill>
                  <a:srgbClr val="FFFFFF"/>
                </a:solidFill>
              </a:rPr>
              <a:t>THIRD-PARTY LOGISTICS</a:t>
            </a:r>
          </a:p>
        </p:txBody>
      </p:sp>
      <p:grpSp>
        <p:nvGrpSpPr>
          <p:cNvPr id="654" name="Group 653"/>
          <p:cNvGrpSpPr/>
          <p:nvPr/>
        </p:nvGrpSpPr>
        <p:grpSpPr>
          <a:xfrm>
            <a:off x="7326834" y="4633742"/>
            <a:ext cx="2542668" cy="573260"/>
            <a:chOff x="10105390" y="3970577"/>
            <a:chExt cx="1833887" cy="1092942"/>
          </a:xfrm>
        </p:grpSpPr>
        <p:sp>
          <p:nvSpPr>
            <p:cNvPr id="658" name="Rectangle 657"/>
            <p:cNvSpPr/>
            <p:nvPr/>
          </p:nvSpPr>
          <p:spPr bwMode="auto">
            <a:xfrm>
              <a:off x="10105390" y="3970577"/>
              <a:ext cx="1833887" cy="1092942"/>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solidFill>
                    <a:srgbClr val="FFFFFF"/>
                  </a:solidFill>
                </a:rPr>
                <a:t>Provide cross-channel visibility into inventories to optimize supply and reduce shared costs in the value chain.</a:t>
              </a:r>
              <a:endParaRPr lang="en-US" sz="900" dirty="0">
                <a:ln w="3175">
                  <a:noFill/>
                </a:ln>
                <a:solidFill>
                  <a:srgbClr val="FFFFFF"/>
                </a:solidFill>
                <a:cs typeface="Arial" charset="0"/>
              </a:endParaRPr>
            </a:p>
          </p:txBody>
        </p:sp>
        <p:cxnSp>
          <p:nvCxnSpPr>
            <p:cNvPr id="659" name="Straight Connector 658"/>
            <p:cNvCxnSpPr/>
            <p:nvPr/>
          </p:nvCxnSpPr>
          <p:spPr>
            <a:xfrm flipV="1">
              <a:off x="10105390" y="3970577"/>
              <a:ext cx="1" cy="1085160"/>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cxnSp>
        <p:nvCxnSpPr>
          <p:cNvPr id="665" name="Straight Connector 664"/>
          <p:cNvCxnSpPr/>
          <p:nvPr/>
        </p:nvCxnSpPr>
        <p:spPr>
          <a:xfrm flipV="1">
            <a:off x="526214" y="1726526"/>
            <a:ext cx="0" cy="134104"/>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666" name="Group 665"/>
          <p:cNvGrpSpPr/>
          <p:nvPr/>
        </p:nvGrpSpPr>
        <p:grpSpPr>
          <a:xfrm>
            <a:off x="382433" y="1146452"/>
            <a:ext cx="712961" cy="585588"/>
            <a:chOff x="2015151" y="1146452"/>
            <a:chExt cx="712961" cy="585588"/>
          </a:xfrm>
        </p:grpSpPr>
        <p:grpSp>
          <p:nvGrpSpPr>
            <p:cNvPr id="667" name="Group 666"/>
            <p:cNvGrpSpPr/>
            <p:nvPr/>
          </p:nvGrpSpPr>
          <p:grpSpPr>
            <a:xfrm>
              <a:off x="2053479" y="1366494"/>
              <a:ext cx="626932" cy="326233"/>
              <a:chOff x="570141" y="1393030"/>
              <a:chExt cx="626932" cy="326233"/>
            </a:xfrm>
          </p:grpSpPr>
          <p:sp>
            <p:nvSpPr>
              <p:cNvPr id="670" name="Rectangle 669"/>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71" name="Rectangle 670"/>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669" name="Trapezoid 14"/>
            <p:cNvSpPr>
              <a:spLocks noChangeAspect="1"/>
            </p:cNvSpPr>
            <p:nvPr/>
          </p:nvSpPr>
          <p:spPr bwMode="auto">
            <a:xfrm>
              <a:off x="2015151" y="1146452"/>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684" name="Elbow Connector 683"/>
          <p:cNvCxnSpPr>
            <a:stCxn id="741" idx="6"/>
            <a:endCxn id="650" idx="3"/>
          </p:cNvCxnSpPr>
          <p:nvPr/>
        </p:nvCxnSpPr>
        <p:spPr>
          <a:xfrm rot="10800000" flipV="1">
            <a:off x="554993" y="4428636"/>
            <a:ext cx="466836" cy="1389172"/>
          </a:xfrm>
          <a:prstGeom prst="bentConnector3">
            <a:avLst>
              <a:gd name="adj1" fmla="val 148968"/>
            </a:avLst>
          </a:prstGeom>
          <a:ln w="19050">
            <a:prstDash val="sysDot"/>
          </a:ln>
        </p:spPr>
        <p:style>
          <a:lnRef idx="1">
            <a:schemeClr val="accent1"/>
          </a:lnRef>
          <a:fillRef idx="0">
            <a:schemeClr val="accent1"/>
          </a:fillRef>
          <a:effectRef idx="0">
            <a:schemeClr val="accent1"/>
          </a:effectRef>
          <a:fontRef idx="minor">
            <a:schemeClr val="tx1"/>
          </a:fontRef>
        </p:style>
      </p:cxnSp>
      <p:sp>
        <p:nvSpPr>
          <p:cNvPr id="690" name="Rectangle 689"/>
          <p:cNvSpPr/>
          <p:nvPr/>
        </p:nvSpPr>
        <p:spPr bwMode="auto">
          <a:xfrm>
            <a:off x="309918" y="3231022"/>
            <a:ext cx="657933" cy="726010"/>
          </a:xfrm>
          <a:prstGeom prst="rect">
            <a:avLst/>
          </a:prstGeom>
          <a:solidFill>
            <a:srgbClr val="4BA3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91" name="Rectangle 690"/>
          <p:cNvSpPr/>
          <p:nvPr/>
        </p:nvSpPr>
        <p:spPr bwMode="auto">
          <a:xfrm>
            <a:off x="944197" y="3195847"/>
            <a:ext cx="76566" cy="768376"/>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a:solidFill>
                <a:srgbClr val="FFFFFF"/>
              </a:solidFill>
            </a:endParaRPr>
          </a:p>
        </p:txBody>
      </p:sp>
      <p:sp>
        <p:nvSpPr>
          <p:cNvPr id="694" name="Rectangle 693"/>
          <p:cNvSpPr/>
          <p:nvPr/>
        </p:nvSpPr>
        <p:spPr bwMode="auto">
          <a:xfrm>
            <a:off x="841218" y="3140864"/>
            <a:ext cx="513175" cy="197656"/>
          </a:xfrm>
          <a:prstGeom prst="rect">
            <a:avLst/>
          </a:prstGeom>
          <a:solidFill>
            <a:srgbClr val="3A808E"/>
          </a:solidFill>
          <a:ln>
            <a:noFill/>
            <a:headEnd type="none" w="med" len="med"/>
            <a:tailEnd type="none" w="med" len="med"/>
          </a:ln>
          <a:effectLst/>
          <a:scene3d>
            <a:camera prst="isometricOffAxis2Right"/>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a:solidFill>
                <a:srgbClr val="FFFFFF"/>
              </a:solidFill>
            </a:endParaRPr>
          </a:p>
        </p:txBody>
      </p:sp>
      <p:sp>
        <p:nvSpPr>
          <p:cNvPr id="695" name="Rectangle 447"/>
          <p:cNvSpPr/>
          <p:nvPr/>
        </p:nvSpPr>
        <p:spPr bwMode="auto">
          <a:xfrm>
            <a:off x="309918" y="3061155"/>
            <a:ext cx="914776" cy="168753"/>
          </a:xfrm>
          <a:custGeom>
            <a:avLst/>
            <a:gdLst>
              <a:gd name="connsiteX0" fmla="*/ 0 w 796099"/>
              <a:gd name="connsiteY0" fmla="*/ 0 h 660009"/>
              <a:gd name="connsiteX1" fmla="*/ 796099 w 796099"/>
              <a:gd name="connsiteY1" fmla="*/ 0 h 660009"/>
              <a:gd name="connsiteX2" fmla="*/ 796099 w 796099"/>
              <a:gd name="connsiteY2" fmla="*/ 660009 h 660009"/>
              <a:gd name="connsiteX3" fmla="*/ 0 w 796099"/>
              <a:gd name="connsiteY3" fmla="*/ 660009 h 660009"/>
              <a:gd name="connsiteX4" fmla="*/ 0 w 796099"/>
              <a:gd name="connsiteY4" fmla="*/ 0 h 660009"/>
              <a:gd name="connsiteX0" fmla="*/ 55418 w 851517"/>
              <a:gd name="connsiteY0" fmla="*/ 0 h 660009"/>
              <a:gd name="connsiteX1" fmla="*/ 851517 w 851517"/>
              <a:gd name="connsiteY1" fmla="*/ 0 h 660009"/>
              <a:gd name="connsiteX2" fmla="*/ 851517 w 851517"/>
              <a:gd name="connsiteY2" fmla="*/ 660009 h 660009"/>
              <a:gd name="connsiteX3" fmla="*/ 0 w 851517"/>
              <a:gd name="connsiteY3" fmla="*/ 438336 h 660009"/>
              <a:gd name="connsiteX4" fmla="*/ 55418 w 851517"/>
              <a:gd name="connsiteY4" fmla="*/ 0 h 660009"/>
              <a:gd name="connsiteX0" fmla="*/ 55418 w 851517"/>
              <a:gd name="connsiteY0" fmla="*/ 0 h 477129"/>
              <a:gd name="connsiteX1" fmla="*/ 851517 w 851517"/>
              <a:gd name="connsiteY1" fmla="*/ 0 h 477129"/>
              <a:gd name="connsiteX2" fmla="*/ 674179 w 851517"/>
              <a:gd name="connsiteY2" fmla="*/ 477129 h 477129"/>
              <a:gd name="connsiteX3" fmla="*/ 0 w 851517"/>
              <a:gd name="connsiteY3" fmla="*/ 438336 h 477129"/>
              <a:gd name="connsiteX4" fmla="*/ 55418 w 851517"/>
              <a:gd name="connsiteY4" fmla="*/ 0 h 477129"/>
              <a:gd name="connsiteX0" fmla="*/ 55418 w 851517"/>
              <a:gd name="connsiteY0" fmla="*/ 0 h 438336"/>
              <a:gd name="connsiteX1" fmla="*/ 851517 w 851517"/>
              <a:gd name="connsiteY1" fmla="*/ 0 h 438336"/>
              <a:gd name="connsiteX2" fmla="*/ 624303 w 851517"/>
              <a:gd name="connsiteY2" fmla="*/ 438336 h 438336"/>
              <a:gd name="connsiteX3" fmla="*/ 0 w 851517"/>
              <a:gd name="connsiteY3" fmla="*/ 438336 h 438336"/>
              <a:gd name="connsiteX4" fmla="*/ 55418 w 851517"/>
              <a:gd name="connsiteY4" fmla="*/ 0 h 438336"/>
              <a:gd name="connsiteX0" fmla="*/ 55418 w 868142"/>
              <a:gd name="connsiteY0" fmla="*/ 0 h 438336"/>
              <a:gd name="connsiteX1" fmla="*/ 868142 w 868142"/>
              <a:gd name="connsiteY1" fmla="*/ 293717 h 438336"/>
              <a:gd name="connsiteX2" fmla="*/ 624303 w 868142"/>
              <a:gd name="connsiteY2" fmla="*/ 438336 h 438336"/>
              <a:gd name="connsiteX3" fmla="*/ 0 w 868142"/>
              <a:gd name="connsiteY3" fmla="*/ 438336 h 438336"/>
              <a:gd name="connsiteX4" fmla="*/ 55418 w 868142"/>
              <a:gd name="connsiteY4" fmla="*/ 0 h 438336"/>
              <a:gd name="connsiteX0" fmla="*/ 188422 w 868142"/>
              <a:gd name="connsiteY0" fmla="*/ 0 h 150162"/>
              <a:gd name="connsiteX1" fmla="*/ 868142 w 868142"/>
              <a:gd name="connsiteY1" fmla="*/ 5543 h 150162"/>
              <a:gd name="connsiteX2" fmla="*/ 624303 w 868142"/>
              <a:gd name="connsiteY2" fmla="*/ 150162 h 150162"/>
              <a:gd name="connsiteX3" fmla="*/ 0 w 868142"/>
              <a:gd name="connsiteY3" fmla="*/ 150162 h 150162"/>
              <a:gd name="connsiteX4" fmla="*/ 188422 w 868142"/>
              <a:gd name="connsiteY4" fmla="*/ 0 h 150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142" h="150162">
                <a:moveTo>
                  <a:pt x="188422" y="0"/>
                </a:moveTo>
                <a:lnTo>
                  <a:pt x="868142" y="5543"/>
                </a:lnTo>
                <a:lnTo>
                  <a:pt x="624303" y="150162"/>
                </a:lnTo>
                <a:lnTo>
                  <a:pt x="0" y="150162"/>
                </a:lnTo>
                <a:lnTo>
                  <a:pt x="188422" y="0"/>
                </a:lnTo>
                <a:close/>
              </a:path>
            </a:pathLst>
          </a:custGeom>
          <a:solidFill>
            <a:srgbClr val="00323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696" name="Group 695"/>
          <p:cNvGrpSpPr/>
          <p:nvPr/>
        </p:nvGrpSpPr>
        <p:grpSpPr>
          <a:xfrm>
            <a:off x="7466755" y="5711951"/>
            <a:ext cx="420564" cy="221533"/>
            <a:chOff x="9935190" y="5751992"/>
            <a:chExt cx="261135" cy="166441"/>
          </a:xfrm>
          <a:solidFill>
            <a:srgbClr val="00708E"/>
          </a:solidFill>
        </p:grpSpPr>
        <p:sp>
          <p:nvSpPr>
            <p:cNvPr id="698" name="Chevron 697"/>
            <p:cNvSpPr/>
            <p:nvPr/>
          </p:nvSpPr>
          <p:spPr bwMode="auto">
            <a:xfrm>
              <a:off x="993519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99" name="Chevron 698"/>
            <p:cNvSpPr/>
            <p:nvPr/>
          </p:nvSpPr>
          <p:spPr bwMode="auto">
            <a:xfrm>
              <a:off x="1002453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700" name="Chevron 699"/>
            <p:cNvSpPr/>
            <p:nvPr/>
          </p:nvSpPr>
          <p:spPr bwMode="auto">
            <a:xfrm>
              <a:off x="10113870" y="5751992"/>
              <a:ext cx="82455" cy="166441"/>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706" name="Flowchart: Data 569"/>
          <p:cNvSpPr/>
          <p:nvPr/>
        </p:nvSpPr>
        <p:spPr bwMode="auto">
          <a:xfrm>
            <a:off x="465103" y="4884447"/>
            <a:ext cx="1914348" cy="247811"/>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2000 w 10000"/>
              <a:gd name="connsiteY1" fmla="*/ 0 h 10000"/>
              <a:gd name="connsiteX2" fmla="*/ 10000 w 10000"/>
              <a:gd name="connsiteY2" fmla="*/ 0 h 10000"/>
              <a:gd name="connsiteX3" fmla="*/ 9206 w 10000"/>
              <a:gd name="connsiteY3" fmla="*/ 10000 h 10000"/>
              <a:gd name="connsiteX4" fmla="*/ 0 w 10000"/>
              <a:gd name="connsiteY4" fmla="*/ 10000 h 10000"/>
              <a:gd name="connsiteX0" fmla="*/ 0 w 10000"/>
              <a:gd name="connsiteY0" fmla="*/ 10000 h 10000"/>
              <a:gd name="connsiteX1" fmla="*/ 1035 w 10000"/>
              <a:gd name="connsiteY1" fmla="*/ 0 h 10000"/>
              <a:gd name="connsiteX2" fmla="*/ 10000 w 10000"/>
              <a:gd name="connsiteY2" fmla="*/ 0 h 10000"/>
              <a:gd name="connsiteX3" fmla="*/ 9206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1035" y="0"/>
                </a:lnTo>
                <a:lnTo>
                  <a:pt x="10000" y="0"/>
                </a:lnTo>
                <a:cubicBezTo>
                  <a:pt x="9735" y="3333"/>
                  <a:pt x="9471" y="6667"/>
                  <a:pt x="9206" y="10000"/>
                </a:cubicBezTo>
                <a:lnTo>
                  <a:pt x="0" y="10000"/>
                </a:lnTo>
                <a:close/>
              </a:path>
            </a:pathLst>
          </a:custGeom>
          <a:solidFill>
            <a:srgbClr val="00AFED">
              <a:alpha val="50000"/>
            </a:srgbClr>
          </a:solidFill>
          <a:ln w="19050">
            <a:solidFill>
              <a:srgbClr val="00AFE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707" name="Group 706"/>
          <p:cNvGrpSpPr/>
          <p:nvPr/>
        </p:nvGrpSpPr>
        <p:grpSpPr>
          <a:xfrm>
            <a:off x="842426" y="3670472"/>
            <a:ext cx="1547912" cy="1292248"/>
            <a:chOff x="1048844" y="2929382"/>
            <a:chExt cx="2146850" cy="1792260"/>
          </a:xfrm>
        </p:grpSpPr>
        <p:sp>
          <p:nvSpPr>
            <p:cNvPr id="708" name="Rectangle 707"/>
            <p:cNvSpPr/>
            <p:nvPr/>
          </p:nvSpPr>
          <p:spPr bwMode="auto">
            <a:xfrm rot="19233811" flipH="1">
              <a:off x="1672997" y="4111453"/>
              <a:ext cx="265596" cy="336234"/>
            </a:xfrm>
            <a:prstGeom prst="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09" name="Rectangle 21"/>
            <p:cNvSpPr/>
            <p:nvPr/>
          </p:nvSpPr>
          <p:spPr bwMode="auto">
            <a:xfrm rot="1663182" flipH="1">
              <a:off x="1661723" y="3093970"/>
              <a:ext cx="283331" cy="75149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10" name="Rectangle 29"/>
            <p:cNvSpPr/>
            <p:nvPr/>
          </p:nvSpPr>
          <p:spPr bwMode="auto">
            <a:xfrm rot="6300000" flipH="1">
              <a:off x="2375889" y="2873020"/>
              <a:ext cx="215107" cy="735159"/>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11" name="Group 710"/>
            <p:cNvGrpSpPr/>
            <p:nvPr/>
          </p:nvGrpSpPr>
          <p:grpSpPr>
            <a:xfrm>
              <a:off x="1297664" y="3722455"/>
              <a:ext cx="516897" cy="516898"/>
              <a:chOff x="4394973" y="1762558"/>
              <a:chExt cx="352210" cy="352210"/>
            </a:xfrm>
          </p:grpSpPr>
          <p:grpSp>
            <p:nvGrpSpPr>
              <p:cNvPr id="738" name="Group 737"/>
              <p:cNvGrpSpPr/>
              <p:nvPr/>
            </p:nvGrpSpPr>
            <p:grpSpPr>
              <a:xfrm flipH="1">
                <a:off x="4394973" y="1762558"/>
                <a:ext cx="352210" cy="352210"/>
                <a:chOff x="5411363" y="1755522"/>
                <a:chExt cx="316187" cy="316187"/>
              </a:xfrm>
            </p:grpSpPr>
            <p:sp>
              <p:nvSpPr>
                <p:cNvPr id="741" name="Oval 740"/>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42" name="Oval 741"/>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43" name="Oval 742"/>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39" name="Rectangle 738"/>
              <p:cNvSpPr/>
              <p:nvPr/>
            </p:nvSpPr>
            <p:spPr bwMode="auto">
              <a:xfrm flipH="1">
                <a:off x="4553230" y="1780423"/>
                <a:ext cx="35696" cy="30433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40" name="Rectangle 739"/>
              <p:cNvSpPr/>
              <p:nvPr/>
            </p:nvSpPr>
            <p:spPr bwMode="auto">
              <a:xfrm rot="5400000" flipH="1">
                <a:off x="4561685" y="1786498"/>
                <a:ext cx="35696" cy="30433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12" name="Group 711"/>
            <p:cNvGrpSpPr/>
            <p:nvPr/>
          </p:nvGrpSpPr>
          <p:grpSpPr>
            <a:xfrm>
              <a:off x="1830772" y="2929382"/>
              <a:ext cx="375748" cy="375748"/>
              <a:chOff x="4394973" y="1762558"/>
              <a:chExt cx="352210" cy="352210"/>
            </a:xfrm>
          </p:grpSpPr>
          <p:grpSp>
            <p:nvGrpSpPr>
              <p:cNvPr id="731" name="Group 730"/>
              <p:cNvGrpSpPr/>
              <p:nvPr/>
            </p:nvGrpSpPr>
            <p:grpSpPr>
              <a:xfrm flipH="1">
                <a:off x="4394973" y="1762558"/>
                <a:ext cx="352210" cy="352210"/>
                <a:chOff x="5411363" y="1755522"/>
                <a:chExt cx="316187" cy="316187"/>
              </a:xfrm>
            </p:grpSpPr>
            <p:sp>
              <p:nvSpPr>
                <p:cNvPr id="734" name="Oval 733"/>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35" name="Oval 734"/>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37" name="Oval 736"/>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32" name="Rectangle 731"/>
              <p:cNvSpPr/>
              <p:nvPr/>
            </p:nvSpPr>
            <p:spPr bwMode="auto">
              <a:xfrm flipH="1">
                <a:off x="4553231" y="1789294"/>
                <a:ext cx="35695" cy="286445"/>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33" name="Rectangle 732"/>
              <p:cNvSpPr/>
              <p:nvPr/>
            </p:nvSpPr>
            <p:spPr bwMode="auto">
              <a:xfrm rot="5400000" flipH="1">
                <a:off x="4556016" y="1795437"/>
                <a:ext cx="35695" cy="286447"/>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13" name="Group 712"/>
            <p:cNvGrpSpPr/>
            <p:nvPr/>
          </p:nvGrpSpPr>
          <p:grpSpPr>
            <a:xfrm rot="20781386">
              <a:off x="2789459" y="3462425"/>
              <a:ext cx="406235" cy="662070"/>
              <a:chOff x="6203753" y="1569838"/>
              <a:chExt cx="276805" cy="451130"/>
            </a:xfrm>
          </p:grpSpPr>
          <p:sp>
            <p:nvSpPr>
              <p:cNvPr id="723" name="Rectangle 722"/>
              <p:cNvSpPr/>
              <p:nvPr/>
            </p:nvSpPr>
            <p:spPr bwMode="auto">
              <a:xfrm rot="10800000" flipH="1">
                <a:off x="6289818" y="1569838"/>
                <a:ext cx="96717" cy="173784"/>
              </a:xfrm>
              <a:prstGeom prst="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24" name="Oval 723"/>
              <p:cNvSpPr/>
              <p:nvPr/>
            </p:nvSpPr>
            <p:spPr bwMode="auto">
              <a:xfrm rot="10737439" flipH="1">
                <a:off x="6286686" y="1707639"/>
                <a:ext cx="110946" cy="110946"/>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25" name="Group 724"/>
              <p:cNvGrpSpPr/>
              <p:nvPr/>
            </p:nvGrpSpPr>
            <p:grpSpPr>
              <a:xfrm>
                <a:off x="6203753" y="1748133"/>
                <a:ext cx="99173" cy="272835"/>
                <a:chOff x="5430362" y="1772113"/>
                <a:chExt cx="99173" cy="272835"/>
              </a:xfrm>
            </p:grpSpPr>
            <p:sp>
              <p:nvSpPr>
                <p:cNvPr id="729" name="Rectangle 728"/>
                <p:cNvSpPr/>
                <p:nvPr/>
              </p:nvSpPr>
              <p:spPr bwMode="auto">
                <a:xfrm rot="13260000" flipH="1">
                  <a:off x="5468027" y="1772113"/>
                  <a:ext cx="45719" cy="13716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30" name="Diagonal Stripe 729"/>
                <p:cNvSpPr/>
                <p:nvPr/>
              </p:nvSpPr>
              <p:spPr bwMode="auto">
                <a:xfrm rot="19432650">
                  <a:off x="5430362" y="1862068"/>
                  <a:ext cx="99173" cy="182880"/>
                </a:xfrm>
                <a:prstGeom prst="diagStrip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26" name="Group 725"/>
              <p:cNvGrpSpPr/>
              <p:nvPr/>
            </p:nvGrpSpPr>
            <p:grpSpPr>
              <a:xfrm flipH="1">
                <a:off x="6381385" y="1748134"/>
                <a:ext cx="99173" cy="272833"/>
                <a:chOff x="5422401" y="1772114"/>
                <a:chExt cx="99173" cy="272833"/>
              </a:xfrm>
            </p:grpSpPr>
            <p:sp>
              <p:nvSpPr>
                <p:cNvPr id="727" name="Rectangle 726"/>
                <p:cNvSpPr/>
                <p:nvPr/>
              </p:nvSpPr>
              <p:spPr bwMode="auto">
                <a:xfrm rot="13260000" flipH="1">
                  <a:off x="5460058" y="1772114"/>
                  <a:ext cx="45719" cy="137160"/>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28" name="Diagonal Stripe 727"/>
                <p:cNvSpPr/>
                <p:nvPr/>
              </p:nvSpPr>
              <p:spPr bwMode="auto">
                <a:xfrm rot="19432650">
                  <a:off x="5422401" y="1862067"/>
                  <a:ext cx="99173" cy="182880"/>
                </a:xfrm>
                <a:prstGeom prst="diagStrip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14" name="Group 713"/>
            <p:cNvGrpSpPr/>
            <p:nvPr/>
          </p:nvGrpSpPr>
          <p:grpSpPr>
            <a:xfrm>
              <a:off x="2732452" y="3244007"/>
              <a:ext cx="281811" cy="281811"/>
              <a:chOff x="4394973" y="1762558"/>
              <a:chExt cx="352210" cy="352210"/>
            </a:xfrm>
          </p:grpSpPr>
          <p:grpSp>
            <p:nvGrpSpPr>
              <p:cNvPr id="717" name="Group 716"/>
              <p:cNvGrpSpPr/>
              <p:nvPr/>
            </p:nvGrpSpPr>
            <p:grpSpPr>
              <a:xfrm flipH="1">
                <a:off x="4394973" y="1762558"/>
                <a:ext cx="352210" cy="352210"/>
                <a:chOff x="5411363" y="1755522"/>
                <a:chExt cx="316187" cy="316187"/>
              </a:xfrm>
            </p:grpSpPr>
            <p:sp>
              <p:nvSpPr>
                <p:cNvPr id="720" name="Oval 719"/>
                <p:cNvSpPr/>
                <p:nvPr/>
              </p:nvSpPr>
              <p:spPr bwMode="auto">
                <a:xfrm>
                  <a:off x="5411363" y="1755522"/>
                  <a:ext cx="316187" cy="316187"/>
                </a:xfrm>
                <a:prstGeom prst="ellipse">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21" name="Oval 720"/>
                <p:cNvSpPr/>
                <p:nvPr/>
              </p:nvSpPr>
              <p:spPr bwMode="auto">
                <a:xfrm>
                  <a:off x="5462797" y="1806956"/>
                  <a:ext cx="213318" cy="213318"/>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22" name="Oval 721"/>
                <p:cNvSpPr/>
                <p:nvPr/>
              </p:nvSpPr>
              <p:spPr bwMode="auto">
                <a:xfrm>
                  <a:off x="5506446" y="1850605"/>
                  <a:ext cx="126020" cy="126020"/>
                </a:xfrm>
                <a:prstGeom prst="ellipse">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18" name="Rectangle 717"/>
              <p:cNvSpPr/>
              <p:nvPr/>
            </p:nvSpPr>
            <p:spPr bwMode="auto">
              <a:xfrm flipH="1">
                <a:off x="4553229" y="1795031"/>
                <a:ext cx="35696" cy="264411"/>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19" name="Rectangle 718"/>
              <p:cNvSpPr/>
              <p:nvPr/>
            </p:nvSpPr>
            <p:spPr bwMode="auto">
              <a:xfrm rot="5400000" flipH="1">
                <a:off x="4559388" y="1806456"/>
                <a:ext cx="35696" cy="264411"/>
              </a:xfrm>
              <a:prstGeom prst="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15" name="Rounded Rectangle 714"/>
            <p:cNvSpPr/>
            <p:nvPr/>
          </p:nvSpPr>
          <p:spPr bwMode="auto">
            <a:xfrm flipH="1">
              <a:off x="1188631" y="4306131"/>
              <a:ext cx="1241311" cy="391405"/>
            </a:xfrm>
            <a:prstGeom prst="roundRect">
              <a:avLst/>
            </a:prstGeom>
            <a:solidFill>
              <a:srgbClr val="0094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16" name="Rounded Rectangle 715"/>
            <p:cNvSpPr/>
            <p:nvPr/>
          </p:nvSpPr>
          <p:spPr bwMode="auto">
            <a:xfrm flipH="1">
              <a:off x="1048844" y="4501833"/>
              <a:ext cx="1520885" cy="219809"/>
            </a:xfrm>
            <a:prstGeom prst="roundRect">
              <a:avLst/>
            </a:prstGeom>
            <a:solidFill>
              <a:srgbClr val="00A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44" name="Group 743"/>
          <p:cNvGrpSpPr>
            <a:grpSpLocks noChangeAspect="1"/>
          </p:cNvGrpSpPr>
          <p:nvPr/>
        </p:nvGrpSpPr>
        <p:grpSpPr>
          <a:xfrm>
            <a:off x="2479487" y="4265653"/>
            <a:ext cx="259949" cy="665269"/>
            <a:chOff x="-3051175" y="-1057275"/>
            <a:chExt cx="2679700" cy="6858000"/>
          </a:xfrm>
        </p:grpSpPr>
        <p:sp>
          <p:nvSpPr>
            <p:cNvPr id="745"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6"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750" name="Group 749"/>
          <p:cNvGrpSpPr>
            <a:grpSpLocks noChangeAspect="1"/>
          </p:cNvGrpSpPr>
          <p:nvPr/>
        </p:nvGrpSpPr>
        <p:grpSpPr>
          <a:xfrm>
            <a:off x="3797168" y="3596539"/>
            <a:ext cx="185820" cy="475556"/>
            <a:chOff x="-3051175" y="-1057275"/>
            <a:chExt cx="2679700" cy="6858000"/>
          </a:xfrm>
        </p:grpSpPr>
        <p:sp>
          <p:nvSpPr>
            <p:cNvPr id="751"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2"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753" name="Group 752"/>
          <p:cNvGrpSpPr>
            <a:grpSpLocks noChangeAspect="1"/>
          </p:cNvGrpSpPr>
          <p:nvPr/>
        </p:nvGrpSpPr>
        <p:grpSpPr>
          <a:xfrm>
            <a:off x="6159691" y="1327675"/>
            <a:ext cx="141055" cy="115855"/>
            <a:chOff x="8049916" y="869239"/>
            <a:chExt cx="712961" cy="585588"/>
          </a:xfrm>
        </p:grpSpPr>
        <p:grpSp>
          <p:nvGrpSpPr>
            <p:cNvPr id="754" name="Group 753"/>
            <p:cNvGrpSpPr/>
            <p:nvPr/>
          </p:nvGrpSpPr>
          <p:grpSpPr>
            <a:xfrm>
              <a:off x="8088244" y="1089281"/>
              <a:ext cx="626932" cy="326233"/>
              <a:chOff x="570141" y="1393030"/>
              <a:chExt cx="626932" cy="326233"/>
            </a:xfrm>
          </p:grpSpPr>
          <p:sp>
            <p:nvSpPr>
              <p:cNvPr id="756" name="Rectangle 755"/>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757" name="Rectangle 756"/>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755"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58" name="Group 757"/>
          <p:cNvGrpSpPr>
            <a:grpSpLocks noChangeAspect="1"/>
          </p:cNvGrpSpPr>
          <p:nvPr/>
        </p:nvGrpSpPr>
        <p:grpSpPr>
          <a:xfrm>
            <a:off x="5611983" y="1640336"/>
            <a:ext cx="128232" cy="105323"/>
            <a:chOff x="8049916" y="869239"/>
            <a:chExt cx="712961" cy="585588"/>
          </a:xfrm>
        </p:grpSpPr>
        <p:grpSp>
          <p:nvGrpSpPr>
            <p:cNvPr id="759" name="Group 758"/>
            <p:cNvGrpSpPr/>
            <p:nvPr/>
          </p:nvGrpSpPr>
          <p:grpSpPr>
            <a:xfrm>
              <a:off x="8088244" y="1089281"/>
              <a:ext cx="626932" cy="326233"/>
              <a:chOff x="570141" y="1393030"/>
              <a:chExt cx="626932" cy="326233"/>
            </a:xfrm>
          </p:grpSpPr>
          <p:sp>
            <p:nvSpPr>
              <p:cNvPr id="761" name="Rectangle 760"/>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762" name="Rectangle 761"/>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760"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63" name="Group 762"/>
          <p:cNvGrpSpPr>
            <a:grpSpLocks noChangeAspect="1"/>
          </p:cNvGrpSpPr>
          <p:nvPr/>
        </p:nvGrpSpPr>
        <p:grpSpPr>
          <a:xfrm>
            <a:off x="6500949" y="1444473"/>
            <a:ext cx="141055" cy="115855"/>
            <a:chOff x="8049916" y="869239"/>
            <a:chExt cx="712961" cy="585588"/>
          </a:xfrm>
        </p:grpSpPr>
        <p:grpSp>
          <p:nvGrpSpPr>
            <p:cNvPr id="764" name="Group 763"/>
            <p:cNvGrpSpPr/>
            <p:nvPr/>
          </p:nvGrpSpPr>
          <p:grpSpPr>
            <a:xfrm>
              <a:off x="8088244" y="1089281"/>
              <a:ext cx="626932" cy="326233"/>
              <a:chOff x="570141" y="1393030"/>
              <a:chExt cx="626932" cy="326233"/>
            </a:xfrm>
          </p:grpSpPr>
          <p:sp>
            <p:nvSpPr>
              <p:cNvPr id="766" name="Rectangle 765"/>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767" name="Rectangle 766"/>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765"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68" name="Group 767"/>
          <p:cNvGrpSpPr>
            <a:grpSpLocks noChangeAspect="1"/>
          </p:cNvGrpSpPr>
          <p:nvPr/>
        </p:nvGrpSpPr>
        <p:grpSpPr>
          <a:xfrm>
            <a:off x="6134798" y="1634800"/>
            <a:ext cx="141055" cy="115855"/>
            <a:chOff x="8049916" y="869239"/>
            <a:chExt cx="712961" cy="585588"/>
          </a:xfrm>
        </p:grpSpPr>
        <p:grpSp>
          <p:nvGrpSpPr>
            <p:cNvPr id="769" name="Group 768"/>
            <p:cNvGrpSpPr/>
            <p:nvPr/>
          </p:nvGrpSpPr>
          <p:grpSpPr>
            <a:xfrm>
              <a:off x="8088244" y="1089281"/>
              <a:ext cx="626932" cy="326233"/>
              <a:chOff x="570141" y="1393030"/>
              <a:chExt cx="626932" cy="326233"/>
            </a:xfrm>
          </p:grpSpPr>
          <p:sp>
            <p:nvSpPr>
              <p:cNvPr id="771" name="Rectangle 770"/>
              <p:cNvSpPr/>
              <p:nvPr/>
            </p:nvSpPr>
            <p:spPr bwMode="auto">
              <a:xfrm>
                <a:off x="570141" y="1393030"/>
                <a:ext cx="229959" cy="326233"/>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772" name="Rectangle 771"/>
              <p:cNvSpPr/>
              <p:nvPr/>
            </p:nvSpPr>
            <p:spPr bwMode="auto">
              <a:xfrm>
                <a:off x="800100" y="1497806"/>
                <a:ext cx="396973" cy="104775"/>
              </a:xfrm>
              <a:prstGeom prst="rect">
                <a:avLst/>
              </a:prstGeom>
              <a:solidFill>
                <a:srgbClr val="BEC6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770" name="Trapezoid 14"/>
            <p:cNvSpPr>
              <a:spLocks noChangeAspect="1"/>
            </p:cNvSpPr>
            <p:nvPr/>
          </p:nvSpPr>
          <p:spPr bwMode="auto">
            <a:xfrm>
              <a:off x="8049916" y="869239"/>
              <a:ext cx="712961" cy="585588"/>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90" name="Rectangle 789"/>
          <p:cNvSpPr/>
          <p:nvPr/>
        </p:nvSpPr>
        <p:spPr>
          <a:xfrm>
            <a:off x="8177290" y="1491335"/>
            <a:ext cx="1202573" cy="261610"/>
          </a:xfrm>
          <a:prstGeom prst="rect">
            <a:avLst/>
          </a:prstGeom>
        </p:spPr>
        <p:txBody>
          <a:bodyPr wrap="none">
            <a:spAutoFit/>
          </a:bodyPr>
          <a:lstStyle/>
          <a:p>
            <a:r>
              <a:rPr lang="en-US" sz="1100" dirty="0">
                <a:solidFill>
                  <a:srgbClr val="FFFFFF"/>
                </a:solidFill>
              </a:rPr>
              <a:t>CUSTOMER SITE</a:t>
            </a:r>
          </a:p>
        </p:txBody>
      </p:sp>
      <p:cxnSp>
        <p:nvCxnSpPr>
          <p:cNvPr id="791" name="Straight Connector 790"/>
          <p:cNvCxnSpPr/>
          <p:nvPr/>
        </p:nvCxnSpPr>
        <p:spPr>
          <a:xfrm flipV="1">
            <a:off x="7637150" y="1733231"/>
            <a:ext cx="0" cy="134104"/>
          </a:xfrm>
          <a:prstGeom prst="line">
            <a:avLst/>
          </a:prstGeom>
          <a:gradFill>
            <a:gsLst>
              <a:gs pos="0">
                <a:srgbClr val="000608">
                  <a:alpha val="0"/>
                </a:srgbClr>
              </a:gs>
              <a:gs pos="100000">
                <a:srgbClr val="005F70"/>
              </a:gs>
            </a:gsLst>
            <a:lin ang="16200000" scaled="0"/>
          </a:gradFill>
          <a:ln w="57150">
            <a:solidFill>
              <a:srgbClr val="0070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92" name="Group 791"/>
          <p:cNvGrpSpPr/>
          <p:nvPr/>
        </p:nvGrpSpPr>
        <p:grpSpPr>
          <a:xfrm>
            <a:off x="5987880" y="2005369"/>
            <a:ext cx="511465" cy="588053"/>
            <a:chOff x="6657794" y="1053101"/>
            <a:chExt cx="680759" cy="782698"/>
          </a:xfrm>
        </p:grpSpPr>
        <p:sp>
          <p:nvSpPr>
            <p:cNvPr id="793" name="Rectangle 792"/>
            <p:cNvSpPr/>
            <p:nvPr/>
          </p:nvSpPr>
          <p:spPr bwMode="auto">
            <a:xfrm>
              <a:off x="6657794" y="1053101"/>
              <a:ext cx="680759" cy="782698"/>
            </a:xfrm>
            <a:prstGeom prst="rect">
              <a:avLst/>
            </a:prstGeom>
            <a:solidFill>
              <a:srgbClr val="FCC12E">
                <a:alpha val="25000"/>
              </a:srgb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794" name="Group 793"/>
            <p:cNvGrpSpPr/>
            <p:nvPr/>
          </p:nvGrpSpPr>
          <p:grpSpPr>
            <a:xfrm>
              <a:off x="6724116" y="1154520"/>
              <a:ext cx="547340" cy="626953"/>
              <a:chOff x="6983648" y="1445099"/>
              <a:chExt cx="547340" cy="626953"/>
            </a:xfrm>
          </p:grpSpPr>
          <p:grpSp>
            <p:nvGrpSpPr>
              <p:cNvPr id="795" name="Group 794"/>
              <p:cNvGrpSpPr/>
              <p:nvPr/>
            </p:nvGrpSpPr>
            <p:grpSpPr>
              <a:xfrm>
                <a:off x="7194775" y="1531034"/>
                <a:ext cx="142870" cy="365650"/>
                <a:chOff x="7010073" y="1548130"/>
                <a:chExt cx="1648459" cy="4218939"/>
              </a:xfrm>
              <a:solidFill>
                <a:schemeClr val="accent2"/>
              </a:solidFill>
            </p:grpSpPr>
            <p:sp>
              <p:nvSpPr>
                <p:cNvPr id="797" name="Freeform 10"/>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FCC12E"/>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00188F"/>
                    </a:solidFill>
                  </a:endParaRPr>
                </a:p>
              </p:txBody>
            </p:sp>
            <p:sp>
              <p:nvSpPr>
                <p:cNvPr id="798" name="Freeform 11"/>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EF8A2F"/>
                </a:solidFill>
                <a:ln w="3175">
                  <a:solidFill>
                    <a:srgbClr val="EF8A2F"/>
                  </a:solidFill>
                  <a:round/>
                  <a:headEnd/>
                  <a:tailEnd/>
                </a:ln>
              </p:spPr>
              <p:txBody>
                <a:bodyPr vert="horz" wrap="square" lIns="91440" tIns="45720" rIns="91440" bIns="45720" numCol="1" anchor="t" anchorCtr="0" compatLnSpc="1">
                  <a:prstTxWarp prst="textNoShape">
                    <a:avLst/>
                  </a:prstTxWarp>
                </a:bodyPr>
                <a:lstStyle/>
                <a:p>
                  <a:endParaRPr lang="en-US" sz="1600">
                    <a:solidFill>
                      <a:srgbClr val="00188F"/>
                    </a:solidFill>
                  </a:endParaRPr>
                </a:p>
              </p:txBody>
            </p:sp>
          </p:grpSp>
          <p:sp>
            <p:nvSpPr>
              <p:cNvPr id="796"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99" name="Group 798"/>
          <p:cNvGrpSpPr>
            <a:grpSpLocks noChangeAspect="1"/>
          </p:cNvGrpSpPr>
          <p:nvPr/>
        </p:nvGrpSpPr>
        <p:grpSpPr>
          <a:xfrm>
            <a:off x="2202713" y="3357271"/>
            <a:ext cx="254191" cy="208701"/>
            <a:chOff x="-4435475" y="1371600"/>
            <a:chExt cx="4435475" cy="3641725"/>
          </a:xfrm>
        </p:grpSpPr>
        <p:sp>
          <p:nvSpPr>
            <p:cNvPr id="802"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03" name="Group 802"/>
            <p:cNvGrpSpPr/>
            <p:nvPr/>
          </p:nvGrpSpPr>
          <p:grpSpPr>
            <a:xfrm>
              <a:off x="-4206871" y="1603382"/>
              <a:ext cx="3978266" cy="3168652"/>
              <a:chOff x="-4206875" y="1603375"/>
              <a:chExt cx="3978275" cy="3168650"/>
            </a:xfrm>
            <a:solidFill>
              <a:schemeClr val="bg1"/>
            </a:solidFill>
          </p:grpSpPr>
          <p:sp>
            <p:nvSpPr>
              <p:cNvPr id="804"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5"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6"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9"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0"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1"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2"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3"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814" name="Group 813"/>
          <p:cNvGrpSpPr>
            <a:grpSpLocks noChangeAspect="1"/>
          </p:cNvGrpSpPr>
          <p:nvPr/>
        </p:nvGrpSpPr>
        <p:grpSpPr>
          <a:xfrm>
            <a:off x="2962841" y="3357271"/>
            <a:ext cx="254191" cy="208701"/>
            <a:chOff x="-4435475" y="1371600"/>
            <a:chExt cx="4435475" cy="3641725"/>
          </a:xfrm>
        </p:grpSpPr>
        <p:sp>
          <p:nvSpPr>
            <p:cNvPr id="815"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16" name="Group 815"/>
            <p:cNvGrpSpPr/>
            <p:nvPr/>
          </p:nvGrpSpPr>
          <p:grpSpPr>
            <a:xfrm>
              <a:off x="-4206871" y="1603382"/>
              <a:ext cx="3978266" cy="3168652"/>
              <a:chOff x="-4206875" y="1603375"/>
              <a:chExt cx="3978275" cy="3168650"/>
            </a:xfrm>
            <a:solidFill>
              <a:schemeClr val="bg1"/>
            </a:solidFill>
          </p:grpSpPr>
          <p:sp>
            <p:nvSpPr>
              <p:cNvPr id="817"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8"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5"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826" name="Group 825"/>
          <p:cNvGrpSpPr>
            <a:grpSpLocks noChangeAspect="1"/>
          </p:cNvGrpSpPr>
          <p:nvPr/>
        </p:nvGrpSpPr>
        <p:grpSpPr>
          <a:xfrm>
            <a:off x="3960046" y="3357271"/>
            <a:ext cx="254191" cy="208701"/>
            <a:chOff x="-4435475" y="1371600"/>
            <a:chExt cx="4435475" cy="3641725"/>
          </a:xfrm>
        </p:grpSpPr>
        <p:sp>
          <p:nvSpPr>
            <p:cNvPr id="827"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28" name="Group 827"/>
            <p:cNvGrpSpPr/>
            <p:nvPr/>
          </p:nvGrpSpPr>
          <p:grpSpPr>
            <a:xfrm>
              <a:off x="-4206871" y="1603382"/>
              <a:ext cx="3978266" cy="3168652"/>
              <a:chOff x="-4206875" y="1603375"/>
              <a:chExt cx="3978275" cy="3168650"/>
            </a:xfrm>
            <a:solidFill>
              <a:schemeClr val="bg1"/>
            </a:solidFill>
          </p:grpSpPr>
          <p:sp>
            <p:nvSpPr>
              <p:cNvPr id="829"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0"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6"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4"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845" name="Group 844"/>
          <p:cNvGrpSpPr/>
          <p:nvPr/>
        </p:nvGrpSpPr>
        <p:grpSpPr>
          <a:xfrm>
            <a:off x="4375725" y="3714433"/>
            <a:ext cx="356514" cy="258460"/>
            <a:chOff x="6227763" y="3667125"/>
            <a:chExt cx="395287" cy="312737"/>
          </a:xfrm>
        </p:grpSpPr>
        <p:sp>
          <p:nvSpPr>
            <p:cNvPr id="861" name="Freeform 96"/>
            <p:cNvSpPr>
              <a:spLocks/>
            </p:cNvSpPr>
            <p:nvPr/>
          </p:nvSpPr>
          <p:spPr bwMode="auto">
            <a:xfrm>
              <a:off x="6300788" y="3667125"/>
              <a:ext cx="266700" cy="84137"/>
            </a:xfrm>
            <a:custGeom>
              <a:avLst/>
              <a:gdLst>
                <a:gd name="T0" fmla="*/ 0 w 1513"/>
                <a:gd name="T1" fmla="*/ 0 h 426"/>
                <a:gd name="T2" fmla="*/ 428 w 1513"/>
                <a:gd name="T3" fmla="*/ 426 h 426"/>
                <a:gd name="T4" fmla="*/ 1513 w 1513"/>
                <a:gd name="T5" fmla="*/ 426 h 426"/>
                <a:gd name="T6" fmla="*/ 1084 w 1513"/>
                <a:gd name="T7" fmla="*/ 0 h 426"/>
                <a:gd name="T8" fmla="*/ 0 w 1513"/>
                <a:gd name="T9" fmla="*/ 0 h 426"/>
              </a:gdLst>
              <a:ahLst/>
              <a:cxnLst>
                <a:cxn ang="0">
                  <a:pos x="T0" y="T1"/>
                </a:cxn>
                <a:cxn ang="0">
                  <a:pos x="T2" y="T3"/>
                </a:cxn>
                <a:cxn ang="0">
                  <a:pos x="T4" y="T5"/>
                </a:cxn>
                <a:cxn ang="0">
                  <a:pos x="T6" y="T7"/>
                </a:cxn>
                <a:cxn ang="0">
                  <a:pos x="T8" y="T9"/>
                </a:cxn>
              </a:cxnLst>
              <a:rect l="0" t="0" r="r" b="b"/>
              <a:pathLst>
                <a:path w="1513" h="426">
                  <a:moveTo>
                    <a:pt x="0" y="0"/>
                  </a:moveTo>
                  <a:lnTo>
                    <a:pt x="428" y="426"/>
                  </a:lnTo>
                  <a:lnTo>
                    <a:pt x="1513" y="426"/>
                  </a:lnTo>
                  <a:lnTo>
                    <a:pt x="1084" y="0"/>
                  </a:lnTo>
                  <a:lnTo>
                    <a:pt x="0" y="0"/>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862" name="Rectangle 97"/>
            <p:cNvSpPr>
              <a:spLocks noChangeArrowheads="1"/>
            </p:cNvSpPr>
            <p:nvPr/>
          </p:nvSpPr>
          <p:spPr bwMode="auto">
            <a:xfrm>
              <a:off x="6300788" y="3667125"/>
              <a:ext cx="192087" cy="87312"/>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863" name="Freeform 98"/>
            <p:cNvSpPr>
              <a:spLocks/>
            </p:cNvSpPr>
            <p:nvPr/>
          </p:nvSpPr>
          <p:spPr bwMode="auto">
            <a:xfrm>
              <a:off x="6302375" y="3667125"/>
              <a:ext cx="74612" cy="312737"/>
            </a:xfrm>
            <a:custGeom>
              <a:avLst/>
              <a:gdLst>
                <a:gd name="T0" fmla="*/ 419 w 419"/>
                <a:gd name="T1" fmla="*/ 1578 h 1578"/>
                <a:gd name="T2" fmla="*/ 0 w 419"/>
                <a:gd name="T3" fmla="*/ 1155 h 1578"/>
                <a:gd name="T4" fmla="*/ 0 w 419"/>
                <a:gd name="T5" fmla="*/ 0 h 1578"/>
                <a:gd name="T6" fmla="*/ 419 w 419"/>
                <a:gd name="T7" fmla="*/ 423 h 1578"/>
                <a:gd name="T8" fmla="*/ 419 w 419"/>
                <a:gd name="T9" fmla="*/ 1578 h 1578"/>
              </a:gdLst>
              <a:ahLst/>
              <a:cxnLst>
                <a:cxn ang="0">
                  <a:pos x="T0" y="T1"/>
                </a:cxn>
                <a:cxn ang="0">
                  <a:pos x="T2" y="T3"/>
                </a:cxn>
                <a:cxn ang="0">
                  <a:pos x="T4" y="T5"/>
                </a:cxn>
                <a:cxn ang="0">
                  <a:pos x="T6" y="T7"/>
                </a:cxn>
                <a:cxn ang="0">
                  <a:pos x="T8" y="T9"/>
                </a:cxn>
              </a:cxnLst>
              <a:rect l="0" t="0" r="r" b="b"/>
              <a:pathLst>
                <a:path w="419" h="1578">
                  <a:moveTo>
                    <a:pt x="419" y="1578"/>
                  </a:moveTo>
                  <a:lnTo>
                    <a:pt x="0" y="1155"/>
                  </a:lnTo>
                  <a:lnTo>
                    <a:pt x="0" y="0"/>
                  </a:lnTo>
                  <a:lnTo>
                    <a:pt x="419" y="423"/>
                  </a:lnTo>
                  <a:lnTo>
                    <a:pt x="419" y="1578"/>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864" name="Freeform 99"/>
            <p:cNvSpPr>
              <a:spLocks/>
            </p:cNvSpPr>
            <p:nvPr/>
          </p:nvSpPr>
          <p:spPr bwMode="auto">
            <a:xfrm>
              <a:off x="6227763" y="3667125"/>
              <a:ext cx="150812" cy="138112"/>
            </a:xfrm>
            <a:custGeom>
              <a:avLst/>
              <a:gdLst>
                <a:gd name="T0" fmla="*/ 0 w 850"/>
                <a:gd name="T1" fmla="*/ 272 h 702"/>
                <a:gd name="T2" fmla="*/ 412 w 850"/>
                <a:gd name="T3" fmla="*/ 0 h 702"/>
                <a:gd name="T4" fmla="*/ 850 w 850"/>
                <a:gd name="T5" fmla="*/ 430 h 702"/>
                <a:gd name="T6" fmla="*/ 438 w 850"/>
                <a:gd name="T7" fmla="*/ 702 h 702"/>
                <a:gd name="T8" fmla="*/ 0 w 850"/>
                <a:gd name="T9" fmla="*/ 272 h 702"/>
              </a:gdLst>
              <a:ahLst/>
              <a:cxnLst>
                <a:cxn ang="0">
                  <a:pos x="T0" y="T1"/>
                </a:cxn>
                <a:cxn ang="0">
                  <a:pos x="T2" y="T3"/>
                </a:cxn>
                <a:cxn ang="0">
                  <a:pos x="T4" y="T5"/>
                </a:cxn>
                <a:cxn ang="0">
                  <a:pos x="T6" y="T7"/>
                </a:cxn>
                <a:cxn ang="0">
                  <a:pos x="T8" y="T9"/>
                </a:cxn>
              </a:cxnLst>
              <a:rect l="0" t="0" r="r" b="b"/>
              <a:pathLst>
                <a:path w="850" h="702">
                  <a:moveTo>
                    <a:pt x="0" y="272"/>
                  </a:moveTo>
                  <a:lnTo>
                    <a:pt x="412" y="0"/>
                  </a:lnTo>
                  <a:lnTo>
                    <a:pt x="850" y="430"/>
                  </a:lnTo>
                  <a:lnTo>
                    <a:pt x="438" y="702"/>
                  </a:lnTo>
                  <a:lnTo>
                    <a:pt x="0" y="272"/>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865" name="Freeform 100"/>
            <p:cNvSpPr>
              <a:spLocks/>
            </p:cNvSpPr>
            <p:nvPr/>
          </p:nvSpPr>
          <p:spPr bwMode="auto">
            <a:xfrm>
              <a:off x="6492875" y="3667125"/>
              <a:ext cx="130175" cy="107950"/>
            </a:xfrm>
            <a:custGeom>
              <a:avLst/>
              <a:gdLst>
                <a:gd name="T0" fmla="*/ 0 w 732"/>
                <a:gd name="T1" fmla="*/ 0 h 544"/>
                <a:gd name="T2" fmla="*/ 435 w 732"/>
                <a:gd name="T3" fmla="*/ 430 h 544"/>
                <a:gd name="T4" fmla="*/ 732 w 732"/>
                <a:gd name="T5" fmla="*/ 544 h 544"/>
                <a:gd name="T6" fmla="*/ 339 w 732"/>
                <a:gd name="T7" fmla="*/ 173 h 544"/>
                <a:gd name="T8" fmla="*/ 0 w 732"/>
                <a:gd name="T9" fmla="*/ 0 h 544"/>
              </a:gdLst>
              <a:ahLst/>
              <a:cxnLst>
                <a:cxn ang="0">
                  <a:pos x="T0" y="T1"/>
                </a:cxn>
                <a:cxn ang="0">
                  <a:pos x="T2" y="T3"/>
                </a:cxn>
                <a:cxn ang="0">
                  <a:pos x="T4" y="T5"/>
                </a:cxn>
                <a:cxn ang="0">
                  <a:pos x="T6" y="T7"/>
                </a:cxn>
                <a:cxn ang="0">
                  <a:pos x="T8" y="T9"/>
                </a:cxn>
              </a:cxnLst>
              <a:rect l="0" t="0" r="r" b="b"/>
              <a:pathLst>
                <a:path w="732" h="544">
                  <a:moveTo>
                    <a:pt x="0" y="0"/>
                  </a:moveTo>
                  <a:lnTo>
                    <a:pt x="435" y="430"/>
                  </a:lnTo>
                  <a:lnTo>
                    <a:pt x="732" y="544"/>
                  </a:lnTo>
                  <a:lnTo>
                    <a:pt x="339" y="173"/>
                  </a:lnTo>
                  <a:lnTo>
                    <a:pt x="0" y="0"/>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866" name="Rectangle 101"/>
            <p:cNvSpPr>
              <a:spLocks noChangeArrowheads="1"/>
            </p:cNvSpPr>
            <p:nvPr/>
          </p:nvSpPr>
          <p:spPr bwMode="auto">
            <a:xfrm>
              <a:off x="6376988" y="3752850"/>
              <a:ext cx="192087" cy="227012"/>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867" name="Freeform 102"/>
            <p:cNvSpPr>
              <a:spLocks/>
            </p:cNvSpPr>
            <p:nvPr/>
          </p:nvSpPr>
          <p:spPr bwMode="auto">
            <a:xfrm>
              <a:off x="6376988" y="3752850"/>
              <a:ext cx="227012" cy="80962"/>
            </a:xfrm>
            <a:custGeom>
              <a:avLst/>
              <a:gdLst>
                <a:gd name="T0" fmla="*/ 198 w 1290"/>
                <a:gd name="T1" fmla="*/ 406 h 406"/>
                <a:gd name="T2" fmla="*/ 0 w 1290"/>
                <a:gd name="T3" fmla="*/ 2 h 406"/>
                <a:gd name="T4" fmla="*/ 1084 w 1290"/>
                <a:gd name="T5" fmla="*/ 0 h 406"/>
                <a:gd name="T6" fmla="*/ 1290 w 1290"/>
                <a:gd name="T7" fmla="*/ 382 h 406"/>
                <a:gd name="T8" fmla="*/ 198 w 1290"/>
                <a:gd name="T9" fmla="*/ 406 h 406"/>
              </a:gdLst>
              <a:ahLst/>
              <a:cxnLst>
                <a:cxn ang="0">
                  <a:pos x="T0" y="T1"/>
                </a:cxn>
                <a:cxn ang="0">
                  <a:pos x="T2" y="T3"/>
                </a:cxn>
                <a:cxn ang="0">
                  <a:pos x="T4" y="T5"/>
                </a:cxn>
                <a:cxn ang="0">
                  <a:pos x="T6" y="T7"/>
                </a:cxn>
                <a:cxn ang="0">
                  <a:pos x="T8" y="T9"/>
                </a:cxn>
              </a:cxnLst>
              <a:rect l="0" t="0" r="r" b="b"/>
              <a:pathLst>
                <a:path w="1290" h="406">
                  <a:moveTo>
                    <a:pt x="198" y="406"/>
                  </a:moveTo>
                  <a:lnTo>
                    <a:pt x="0" y="2"/>
                  </a:lnTo>
                  <a:lnTo>
                    <a:pt x="1084" y="0"/>
                  </a:lnTo>
                  <a:lnTo>
                    <a:pt x="1290" y="382"/>
                  </a:lnTo>
                  <a:lnTo>
                    <a:pt x="198" y="406"/>
                  </a:lnTo>
                  <a:close/>
                </a:path>
              </a:pathLst>
            </a:cu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grpSp>
      <p:grpSp>
        <p:nvGrpSpPr>
          <p:cNvPr id="882" name="Group 881"/>
          <p:cNvGrpSpPr/>
          <p:nvPr/>
        </p:nvGrpSpPr>
        <p:grpSpPr>
          <a:xfrm flipH="1">
            <a:off x="4578001" y="4082939"/>
            <a:ext cx="251324" cy="257468"/>
            <a:chOff x="8647838" y="2755964"/>
            <a:chExt cx="1111808" cy="1138987"/>
          </a:xfrm>
        </p:grpSpPr>
        <p:sp>
          <p:nvSpPr>
            <p:cNvPr id="883" name="Parallelogram 882"/>
            <p:cNvSpPr/>
            <p:nvPr/>
          </p:nvSpPr>
          <p:spPr bwMode="auto">
            <a:xfrm>
              <a:off x="8647838" y="2763406"/>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884" name="Parallelogram 883"/>
            <p:cNvSpPr/>
            <p:nvPr/>
          </p:nvSpPr>
          <p:spPr bwMode="auto">
            <a:xfrm rot="16200000" flipH="1">
              <a:off x="9066878" y="3201371"/>
              <a:ext cx="1138176" cy="247361"/>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885" name="Rectangle 884"/>
            <p:cNvSpPr/>
            <p:nvPr/>
          </p:nvSpPr>
          <p:spPr bwMode="auto">
            <a:xfrm>
              <a:off x="8654819"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86" name="Group 885"/>
          <p:cNvGrpSpPr/>
          <p:nvPr/>
        </p:nvGrpSpPr>
        <p:grpSpPr>
          <a:xfrm flipH="1">
            <a:off x="4760449" y="4475458"/>
            <a:ext cx="251324" cy="260000"/>
            <a:chOff x="8647838" y="2744764"/>
            <a:chExt cx="1111808" cy="1150187"/>
          </a:xfrm>
        </p:grpSpPr>
        <p:sp>
          <p:nvSpPr>
            <p:cNvPr id="887" name="Parallelogram 886"/>
            <p:cNvSpPr/>
            <p:nvPr/>
          </p:nvSpPr>
          <p:spPr bwMode="auto">
            <a:xfrm>
              <a:off x="8647838" y="2744764"/>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888" name="Parallelogram 887"/>
            <p:cNvSpPr/>
            <p:nvPr/>
          </p:nvSpPr>
          <p:spPr bwMode="auto">
            <a:xfrm rot="16200000" flipH="1">
              <a:off x="9080145" y="3208665"/>
              <a:ext cx="1132204" cy="226799"/>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898" name="Rectangle 897"/>
            <p:cNvSpPr/>
            <p:nvPr/>
          </p:nvSpPr>
          <p:spPr bwMode="auto">
            <a:xfrm>
              <a:off x="8654819"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01" name="Group 900"/>
          <p:cNvGrpSpPr/>
          <p:nvPr/>
        </p:nvGrpSpPr>
        <p:grpSpPr>
          <a:xfrm flipH="1">
            <a:off x="5149103" y="5320084"/>
            <a:ext cx="365740" cy="377488"/>
            <a:chOff x="8642653" y="2742509"/>
            <a:chExt cx="1103537" cy="1138985"/>
          </a:xfrm>
        </p:grpSpPr>
        <p:sp>
          <p:nvSpPr>
            <p:cNvPr id="902" name="Parallelogram 901"/>
            <p:cNvSpPr/>
            <p:nvPr/>
          </p:nvSpPr>
          <p:spPr bwMode="auto">
            <a:xfrm>
              <a:off x="8642653" y="2744764"/>
              <a:ext cx="1098085"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903" name="Parallelogram 902"/>
            <p:cNvSpPr/>
            <p:nvPr/>
          </p:nvSpPr>
          <p:spPr bwMode="auto">
            <a:xfrm rot="16200000" flipH="1">
              <a:off x="9065447" y="3195862"/>
              <a:ext cx="1134096" cy="227390"/>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904" name="Rectangle 903"/>
            <p:cNvSpPr/>
            <p:nvPr/>
          </p:nvSpPr>
          <p:spPr bwMode="auto">
            <a:xfrm>
              <a:off x="8649635" y="2986007"/>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32" name="Group 931"/>
          <p:cNvGrpSpPr>
            <a:grpSpLocks noChangeAspect="1"/>
          </p:cNvGrpSpPr>
          <p:nvPr/>
        </p:nvGrpSpPr>
        <p:grpSpPr>
          <a:xfrm rot="1687298">
            <a:off x="4548170" y="3479139"/>
            <a:ext cx="254191" cy="208701"/>
            <a:chOff x="-4435475" y="1371600"/>
            <a:chExt cx="4435475" cy="3641725"/>
          </a:xfrm>
        </p:grpSpPr>
        <p:sp>
          <p:nvSpPr>
            <p:cNvPr id="933"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34" name="Group 933"/>
            <p:cNvGrpSpPr/>
            <p:nvPr/>
          </p:nvGrpSpPr>
          <p:grpSpPr>
            <a:xfrm>
              <a:off x="-4206877" y="1603380"/>
              <a:ext cx="3978266" cy="3168652"/>
              <a:chOff x="-4206875" y="1603375"/>
              <a:chExt cx="3978275" cy="3168650"/>
            </a:xfrm>
            <a:solidFill>
              <a:schemeClr val="bg1"/>
            </a:solidFill>
          </p:grpSpPr>
          <p:sp>
            <p:nvSpPr>
              <p:cNvPr id="935"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6"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7"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8"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9"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0"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1"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2"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cxnSp>
        <p:nvCxnSpPr>
          <p:cNvPr id="943" name="Elbow Connector 942"/>
          <p:cNvCxnSpPr>
            <a:endCxn id="628" idx="1"/>
          </p:cNvCxnSpPr>
          <p:nvPr/>
        </p:nvCxnSpPr>
        <p:spPr>
          <a:xfrm rot="10800000" flipV="1">
            <a:off x="3515090" y="4835263"/>
            <a:ext cx="2225709" cy="981038"/>
          </a:xfrm>
          <a:prstGeom prst="bentConnector3">
            <a:avLst>
              <a:gd name="adj1" fmla="val 50000"/>
            </a:avLst>
          </a:prstGeom>
          <a:solidFill>
            <a:srgbClr val="8DC548">
              <a:alpha val="25000"/>
            </a:srgbClr>
          </a:solidFill>
          <a:ln w="19050">
            <a:solidFill>
              <a:srgbClr val="8DC548"/>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44" name="Group 943"/>
          <p:cNvGrpSpPr>
            <a:grpSpLocks noChangeAspect="1"/>
          </p:cNvGrpSpPr>
          <p:nvPr/>
        </p:nvGrpSpPr>
        <p:grpSpPr>
          <a:xfrm>
            <a:off x="7338709" y="1367721"/>
            <a:ext cx="818170" cy="366634"/>
            <a:chOff x="14786043" y="1650860"/>
            <a:chExt cx="7326144" cy="3282950"/>
          </a:xfrm>
        </p:grpSpPr>
        <p:sp>
          <p:nvSpPr>
            <p:cNvPr id="945" name="Rectangle 944"/>
            <p:cNvSpPr/>
            <p:nvPr/>
          </p:nvSpPr>
          <p:spPr bwMode="auto">
            <a:xfrm>
              <a:off x="19192672" y="2926427"/>
              <a:ext cx="2743196" cy="1705928"/>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946" name="Rectangle 1117"/>
            <p:cNvSpPr/>
            <p:nvPr/>
          </p:nvSpPr>
          <p:spPr bwMode="auto">
            <a:xfrm>
              <a:off x="15972820" y="1983342"/>
              <a:ext cx="1945529" cy="2503075"/>
            </a:xfrm>
            <a:custGeom>
              <a:avLst/>
              <a:gdLst/>
              <a:ahLst/>
              <a:cxnLst/>
              <a:rect l="l" t="t" r="r" b="b"/>
              <a:pathLst>
                <a:path w="1945531" h="2503072">
                  <a:moveTo>
                    <a:pt x="0" y="0"/>
                  </a:moveTo>
                  <a:lnTo>
                    <a:pt x="1945531" y="0"/>
                  </a:lnTo>
                  <a:lnTo>
                    <a:pt x="1945531" y="2503072"/>
                  </a:lnTo>
                  <a:lnTo>
                    <a:pt x="730544" y="2503072"/>
                  </a:lnTo>
                  <a:lnTo>
                    <a:pt x="706321" y="2452308"/>
                  </a:lnTo>
                  <a:lnTo>
                    <a:pt x="674798" y="2399453"/>
                  </a:lnTo>
                  <a:lnTo>
                    <a:pt x="640122" y="2354730"/>
                  </a:lnTo>
                  <a:lnTo>
                    <a:pt x="599141" y="2310007"/>
                  </a:lnTo>
                  <a:lnTo>
                    <a:pt x="558160" y="2273416"/>
                  </a:lnTo>
                  <a:lnTo>
                    <a:pt x="510875" y="2236824"/>
                  </a:lnTo>
                  <a:lnTo>
                    <a:pt x="460437" y="2204298"/>
                  </a:lnTo>
                  <a:lnTo>
                    <a:pt x="406847" y="2179904"/>
                  </a:lnTo>
                  <a:lnTo>
                    <a:pt x="350104" y="2159575"/>
                  </a:lnTo>
                  <a:lnTo>
                    <a:pt x="293361" y="2143312"/>
                  </a:lnTo>
                  <a:lnTo>
                    <a:pt x="233466" y="2135181"/>
                  </a:lnTo>
                  <a:lnTo>
                    <a:pt x="170419" y="2131115"/>
                  </a:lnTo>
                  <a:lnTo>
                    <a:pt x="126286" y="2135181"/>
                  </a:lnTo>
                  <a:lnTo>
                    <a:pt x="82153" y="2139247"/>
                  </a:lnTo>
                  <a:lnTo>
                    <a:pt x="41172" y="2147378"/>
                  </a:lnTo>
                  <a:lnTo>
                    <a:pt x="0" y="2154964"/>
                  </a:lnTo>
                  <a:close/>
                </a:path>
              </a:pathLst>
            </a:cu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947" name="Rectangle 946"/>
            <p:cNvSpPr/>
            <p:nvPr/>
          </p:nvSpPr>
          <p:spPr bwMode="auto">
            <a:xfrm>
              <a:off x="16741305" y="1983342"/>
              <a:ext cx="1945529" cy="1705928"/>
            </a:xfrm>
            <a:prstGeom prst="rect">
              <a:avLst/>
            </a:prstGeom>
            <a:solidFill>
              <a:srgbClr val="8CBB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948" name="Freeform 113"/>
            <p:cNvSpPr>
              <a:spLocks noEditPoints="1"/>
            </p:cNvSpPr>
            <p:nvPr/>
          </p:nvSpPr>
          <p:spPr bwMode="auto">
            <a:xfrm>
              <a:off x="19044854" y="2504939"/>
              <a:ext cx="3067333" cy="2425701"/>
            </a:xfrm>
            <a:custGeom>
              <a:avLst/>
              <a:gdLst>
                <a:gd name="T0" fmla="*/ 0 w 2492"/>
                <a:gd name="T1" fmla="*/ 0 h 1528"/>
                <a:gd name="T2" fmla="*/ 0 w 2492"/>
                <a:gd name="T3" fmla="*/ 1528 h 1528"/>
                <a:gd name="T4" fmla="*/ 2492 w 2492"/>
                <a:gd name="T5" fmla="*/ 1528 h 1528"/>
                <a:gd name="T6" fmla="*/ 2492 w 2492"/>
                <a:gd name="T7" fmla="*/ 0 h 1528"/>
                <a:gd name="T8" fmla="*/ 0 w 2492"/>
                <a:gd name="T9" fmla="*/ 0 h 1528"/>
                <a:gd name="T10" fmla="*/ 594 w 2492"/>
                <a:gd name="T11" fmla="*/ 1198 h 1528"/>
                <a:gd name="T12" fmla="*/ 244 w 2492"/>
                <a:gd name="T13" fmla="*/ 1198 h 1528"/>
                <a:gd name="T14" fmla="*/ 244 w 2492"/>
                <a:gd name="T15" fmla="*/ 870 h 1528"/>
                <a:gd name="T16" fmla="*/ 594 w 2492"/>
                <a:gd name="T17" fmla="*/ 870 h 1528"/>
                <a:gd name="T18" fmla="*/ 594 w 2492"/>
                <a:gd name="T19" fmla="*/ 1198 h 1528"/>
                <a:gd name="T20" fmla="*/ 594 w 2492"/>
                <a:gd name="T21" fmla="*/ 642 h 1528"/>
                <a:gd name="T22" fmla="*/ 244 w 2492"/>
                <a:gd name="T23" fmla="*/ 642 h 1528"/>
                <a:gd name="T24" fmla="*/ 244 w 2492"/>
                <a:gd name="T25" fmla="*/ 314 h 1528"/>
                <a:gd name="T26" fmla="*/ 594 w 2492"/>
                <a:gd name="T27" fmla="*/ 314 h 1528"/>
                <a:gd name="T28" fmla="*/ 594 w 2492"/>
                <a:gd name="T29" fmla="*/ 642 h 1528"/>
                <a:gd name="T30" fmla="*/ 1156 w 2492"/>
                <a:gd name="T31" fmla="*/ 1198 h 1528"/>
                <a:gd name="T32" fmla="*/ 806 w 2492"/>
                <a:gd name="T33" fmla="*/ 1198 h 1528"/>
                <a:gd name="T34" fmla="*/ 806 w 2492"/>
                <a:gd name="T35" fmla="*/ 870 h 1528"/>
                <a:gd name="T36" fmla="*/ 1156 w 2492"/>
                <a:gd name="T37" fmla="*/ 870 h 1528"/>
                <a:gd name="T38" fmla="*/ 1156 w 2492"/>
                <a:gd name="T39" fmla="*/ 1198 h 1528"/>
                <a:gd name="T40" fmla="*/ 1156 w 2492"/>
                <a:gd name="T41" fmla="*/ 642 h 1528"/>
                <a:gd name="T42" fmla="*/ 806 w 2492"/>
                <a:gd name="T43" fmla="*/ 642 h 1528"/>
                <a:gd name="T44" fmla="*/ 806 w 2492"/>
                <a:gd name="T45" fmla="*/ 314 h 1528"/>
                <a:gd name="T46" fmla="*/ 1156 w 2492"/>
                <a:gd name="T47" fmla="*/ 314 h 1528"/>
                <a:gd name="T48" fmla="*/ 1156 w 2492"/>
                <a:gd name="T49" fmla="*/ 642 h 1528"/>
                <a:gd name="T50" fmla="*/ 1706 w 2492"/>
                <a:gd name="T51" fmla="*/ 1198 h 1528"/>
                <a:gd name="T52" fmla="*/ 1356 w 2492"/>
                <a:gd name="T53" fmla="*/ 1198 h 1528"/>
                <a:gd name="T54" fmla="*/ 1356 w 2492"/>
                <a:gd name="T55" fmla="*/ 870 h 1528"/>
                <a:gd name="T56" fmla="*/ 1706 w 2492"/>
                <a:gd name="T57" fmla="*/ 870 h 1528"/>
                <a:gd name="T58" fmla="*/ 1706 w 2492"/>
                <a:gd name="T59" fmla="*/ 1198 h 1528"/>
                <a:gd name="T60" fmla="*/ 1706 w 2492"/>
                <a:gd name="T61" fmla="*/ 642 h 1528"/>
                <a:gd name="T62" fmla="*/ 1356 w 2492"/>
                <a:gd name="T63" fmla="*/ 642 h 1528"/>
                <a:gd name="T64" fmla="*/ 1356 w 2492"/>
                <a:gd name="T65" fmla="*/ 314 h 1528"/>
                <a:gd name="T66" fmla="*/ 1706 w 2492"/>
                <a:gd name="T67" fmla="*/ 314 h 1528"/>
                <a:gd name="T68" fmla="*/ 1706 w 2492"/>
                <a:gd name="T69" fmla="*/ 642 h 1528"/>
                <a:gd name="T70" fmla="*/ 2274 w 2492"/>
                <a:gd name="T71" fmla="*/ 1198 h 1528"/>
                <a:gd name="T72" fmla="*/ 1924 w 2492"/>
                <a:gd name="T73" fmla="*/ 1198 h 1528"/>
                <a:gd name="T74" fmla="*/ 1924 w 2492"/>
                <a:gd name="T75" fmla="*/ 870 h 1528"/>
                <a:gd name="T76" fmla="*/ 2274 w 2492"/>
                <a:gd name="T77" fmla="*/ 870 h 1528"/>
                <a:gd name="T78" fmla="*/ 2274 w 2492"/>
                <a:gd name="T79" fmla="*/ 1198 h 1528"/>
                <a:gd name="T80" fmla="*/ 2274 w 2492"/>
                <a:gd name="T81" fmla="*/ 642 h 1528"/>
                <a:gd name="T82" fmla="*/ 1924 w 2492"/>
                <a:gd name="T83" fmla="*/ 642 h 1528"/>
                <a:gd name="T84" fmla="*/ 1924 w 2492"/>
                <a:gd name="T85" fmla="*/ 314 h 1528"/>
                <a:gd name="T86" fmla="*/ 2274 w 2492"/>
                <a:gd name="T87" fmla="*/ 314 h 1528"/>
                <a:gd name="T88" fmla="*/ 2274 w 2492"/>
                <a:gd name="T89" fmla="*/ 64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2" h="1528">
                  <a:moveTo>
                    <a:pt x="0" y="0"/>
                  </a:moveTo>
                  <a:lnTo>
                    <a:pt x="0" y="1528"/>
                  </a:lnTo>
                  <a:lnTo>
                    <a:pt x="2492" y="1528"/>
                  </a:lnTo>
                  <a:lnTo>
                    <a:pt x="2492" y="0"/>
                  </a:lnTo>
                  <a:lnTo>
                    <a:pt x="0" y="0"/>
                  </a:lnTo>
                  <a:close/>
                  <a:moveTo>
                    <a:pt x="594" y="1198"/>
                  </a:moveTo>
                  <a:lnTo>
                    <a:pt x="244" y="1198"/>
                  </a:lnTo>
                  <a:lnTo>
                    <a:pt x="244" y="870"/>
                  </a:lnTo>
                  <a:lnTo>
                    <a:pt x="594" y="870"/>
                  </a:lnTo>
                  <a:lnTo>
                    <a:pt x="594" y="1198"/>
                  </a:lnTo>
                  <a:close/>
                  <a:moveTo>
                    <a:pt x="594" y="642"/>
                  </a:moveTo>
                  <a:lnTo>
                    <a:pt x="244" y="642"/>
                  </a:lnTo>
                  <a:lnTo>
                    <a:pt x="244" y="314"/>
                  </a:lnTo>
                  <a:lnTo>
                    <a:pt x="594" y="314"/>
                  </a:lnTo>
                  <a:lnTo>
                    <a:pt x="594" y="642"/>
                  </a:lnTo>
                  <a:close/>
                  <a:moveTo>
                    <a:pt x="1156" y="1198"/>
                  </a:moveTo>
                  <a:lnTo>
                    <a:pt x="806" y="1198"/>
                  </a:lnTo>
                  <a:lnTo>
                    <a:pt x="806" y="870"/>
                  </a:lnTo>
                  <a:lnTo>
                    <a:pt x="1156" y="870"/>
                  </a:lnTo>
                  <a:lnTo>
                    <a:pt x="1156" y="1198"/>
                  </a:lnTo>
                  <a:close/>
                  <a:moveTo>
                    <a:pt x="1156" y="642"/>
                  </a:moveTo>
                  <a:lnTo>
                    <a:pt x="806" y="642"/>
                  </a:lnTo>
                  <a:lnTo>
                    <a:pt x="806" y="314"/>
                  </a:lnTo>
                  <a:lnTo>
                    <a:pt x="1156" y="314"/>
                  </a:lnTo>
                  <a:lnTo>
                    <a:pt x="1156" y="642"/>
                  </a:lnTo>
                  <a:close/>
                  <a:moveTo>
                    <a:pt x="1706" y="1198"/>
                  </a:moveTo>
                  <a:lnTo>
                    <a:pt x="1356" y="1198"/>
                  </a:lnTo>
                  <a:lnTo>
                    <a:pt x="1356" y="870"/>
                  </a:lnTo>
                  <a:lnTo>
                    <a:pt x="1706" y="870"/>
                  </a:lnTo>
                  <a:lnTo>
                    <a:pt x="1706" y="1198"/>
                  </a:lnTo>
                  <a:close/>
                  <a:moveTo>
                    <a:pt x="1706" y="642"/>
                  </a:moveTo>
                  <a:lnTo>
                    <a:pt x="1356" y="642"/>
                  </a:lnTo>
                  <a:lnTo>
                    <a:pt x="1356" y="314"/>
                  </a:lnTo>
                  <a:lnTo>
                    <a:pt x="1706" y="314"/>
                  </a:lnTo>
                  <a:lnTo>
                    <a:pt x="1706" y="642"/>
                  </a:lnTo>
                  <a:close/>
                  <a:moveTo>
                    <a:pt x="2274" y="1198"/>
                  </a:moveTo>
                  <a:lnTo>
                    <a:pt x="1924" y="1198"/>
                  </a:lnTo>
                  <a:lnTo>
                    <a:pt x="1924" y="870"/>
                  </a:lnTo>
                  <a:lnTo>
                    <a:pt x="2274" y="870"/>
                  </a:lnTo>
                  <a:lnTo>
                    <a:pt x="2274" y="1198"/>
                  </a:lnTo>
                  <a:close/>
                  <a:moveTo>
                    <a:pt x="2274" y="642"/>
                  </a:moveTo>
                  <a:lnTo>
                    <a:pt x="1924" y="642"/>
                  </a:lnTo>
                  <a:lnTo>
                    <a:pt x="1924" y="314"/>
                  </a:lnTo>
                  <a:lnTo>
                    <a:pt x="2274" y="314"/>
                  </a:lnTo>
                  <a:lnTo>
                    <a:pt x="2274" y="6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9" name="Freeform 114"/>
            <p:cNvSpPr>
              <a:spLocks/>
            </p:cNvSpPr>
            <p:nvPr/>
          </p:nvSpPr>
          <p:spPr bwMode="auto">
            <a:xfrm>
              <a:off x="14786043" y="4248009"/>
              <a:ext cx="1799529" cy="685801"/>
            </a:xfrm>
            <a:custGeom>
              <a:avLst/>
              <a:gdLst>
                <a:gd name="T0" fmla="*/ 730 w 1462"/>
                <a:gd name="T1" fmla="*/ 432 h 432"/>
                <a:gd name="T2" fmla="*/ 730 w 1462"/>
                <a:gd name="T3" fmla="*/ 432 h 432"/>
                <a:gd name="T4" fmla="*/ 1422 w 1462"/>
                <a:gd name="T5" fmla="*/ 432 h 432"/>
                <a:gd name="T6" fmla="*/ 1438 w 1462"/>
                <a:gd name="T7" fmla="*/ 402 h 432"/>
                <a:gd name="T8" fmla="*/ 1452 w 1462"/>
                <a:gd name="T9" fmla="*/ 370 h 432"/>
                <a:gd name="T10" fmla="*/ 1458 w 1462"/>
                <a:gd name="T11" fmla="*/ 336 h 432"/>
                <a:gd name="T12" fmla="*/ 1462 w 1462"/>
                <a:gd name="T13" fmla="*/ 300 h 432"/>
                <a:gd name="T14" fmla="*/ 1460 w 1462"/>
                <a:gd name="T15" fmla="*/ 270 h 432"/>
                <a:gd name="T16" fmla="*/ 1444 w 1462"/>
                <a:gd name="T17" fmla="*/ 212 h 432"/>
                <a:gd name="T18" fmla="*/ 1416 w 1462"/>
                <a:gd name="T19" fmla="*/ 158 h 432"/>
                <a:gd name="T20" fmla="*/ 1374 w 1462"/>
                <a:gd name="T21" fmla="*/ 110 h 432"/>
                <a:gd name="T22" fmla="*/ 1322 w 1462"/>
                <a:gd name="T23" fmla="*/ 70 h 432"/>
                <a:gd name="T24" fmla="*/ 1260 w 1462"/>
                <a:gd name="T25" fmla="*/ 36 h 432"/>
                <a:gd name="T26" fmla="*/ 1190 w 1462"/>
                <a:gd name="T27" fmla="*/ 14 h 432"/>
                <a:gd name="T28" fmla="*/ 1116 w 1462"/>
                <a:gd name="T29" fmla="*/ 2 h 432"/>
                <a:gd name="T30" fmla="*/ 1076 w 1462"/>
                <a:gd name="T31" fmla="*/ 0 h 432"/>
                <a:gd name="T32" fmla="*/ 1020 w 1462"/>
                <a:gd name="T33" fmla="*/ 4 h 432"/>
                <a:gd name="T34" fmla="*/ 966 w 1462"/>
                <a:gd name="T35" fmla="*/ 12 h 432"/>
                <a:gd name="T36" fmla="*/ 916 w 1462"/>
                <a:gd name="T37" fmla="*/ 28 h 432"/>
                <a:gd name="T38" fmla="*/ 870 w 1462"/>
                <a:gd name="T39" fmla="*/ 48 h 432"/>
                <a:gd name="T40" fmla="*/ 828 w 1462"/>
                <a:gd name="T41" fmla="*/ 72 h 432"/>
                <a:gd name="T42" fmla="*/ 790 w 1462"/>
                <a:gd name="T43" fmla="*/ 100 h 432"/>
                <a:gd name="T44" fmla="*/ 756 w 1462"/>
                <a:gd name="T45" fmla="*/ 132 h 432"/>
                <a:gd name="T46" fmla="*/ 730 w 1462"/>
                <a:gd name="T47" fmla="*/ 168 h 432"/>
                <a:gd name="T48" fmla="*/ 718 w 1462"/>
                <a:gd name="T49" fmla="*/ 150 h 432"/>
                <a:gd name="T50" fmla="*/ 688 w 1462"/>
                <a:gd name="T51" fmla="*/ 116 h 432"/>
                <a:gd name="T52" fmla="*/ 652 w 1462"/>
                <a:gd name="T53" fmla="*/ 86 h 432"/>
                <a:gd name="T54" fmla="*/ 612 w 1462"/>
                <a:gd name="T55" fmla="*/ 58 h 432"/>
                <a:gd name="T56" fmla="*/ 568 w 1462"/>
                <a:gd name="T57" fmla="*/ 36 h 432"/>
                <a:gd name="T58" fmla="*/ 520 w 1462"/>
                <a:gd name="T59" fmla="*/ 20 h 432"/>
                <a:gd name="T60" fmla="*/ 468 w 1462"/>
                <a:gd name="T61" fmla="*/ 8 h 432"/>
                <a:gd name="T62" fmla="*/ 412 w 1462"/>
                <a:gd name="T63" fmla="*/ 2 h 432"/>
                <a:gd name="T64" fmla="*/ 384 w 1462"/>
                <a:gd name="T65" fmla="*/ 0 h 432"/>
                <a:gd name="T66" fmla="*/ 306 w 1462"/>
                <a:gd name="T67" fmla="*/ 6 h 432"/>
                <a:gd name="T68" fmla="*/ 234 w 1462"/>
                <a:gd name="T69" fmla="*/ 24 h 432"/>
                <a:gd name="T70" fmla="*/ 168 w 1462"/>
                <a:gd name="T71" fmla="*/ 52 h 432"/>
                <a:gd name="T72" fmla="*/ 112 w 1462"/>
                <a:gd name="T73" fmla="*/ 88 h 432"/>
                <a:gd name="T74" fmla="*/ 64 w 1462"/>
                <a:gd name="T75" fmla="*/ 132 h 432"/>
                <a:gd name="T76" fmla="*/ 30 w 1462"/>
                <a:gd name="T77" fmla="*/ 184 h 432"/>
                <a:gd name="T78" fmla="*/ 6 w 1462"/>
                <a:gd name="T79" fmla="*/ 240 h 432"/>
                <a:gd name="T80" fmla="*/ 0 w 1462"/>
                <a:gd name="T81" fmla="*/ 300 h 432"/>
                <a:gd name="T82" fmla="*/ 0 w 1462"/>
                <a:gd name="T83" fmla="*/ 318 h 432"/>
                <a:gd name="T84" fmla="*/ 6 w 1462"/>
                <a:gd name="T85" fmla="*/ 352 h 432"/>
                <a:gd name="T86" fmla="*/ 16 w 1462"/>
                <a:gd name="T87" fmla="*/ 386 h 432"/>
                <a:gd name="T88" fmla="*/ 40 w 1462"/>
                <a:gd name="T89"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2" h="432">
                  <a:moveTo>
                    <a:pt x="730" y="432"/>
                  </a:moveTo>
                  <a:lnTo>
                    <a:pt x="730" y="432"/>
                  </a:lnTo>
                  <a:lnTo>
                    <a:pt x="730" y="432"/>
                  </a:lnTo>
                  <a:lnTo>
                    <a:pt x="730" y="432"/>
                  </a:lnTo>
                  <a:lnTo>
                    <a:pt x="732" y="432"/>
                  </a:lnTo>
                  <a:lnTo>
                    <a:pt x="1422" y="432"/>
                  </a:lnTo>
                  <a:lnTo>
                    <a:pt x="1422" y="432"/>
                  </a:lnTo>
                  <a:lnTo>
                    <a:pt x="1438" y="402"/>
                  </a:lnTo>
                  <a:lnTo>
                    <a:pt x="1446" y="386"/>
                  </a:lnTo>
                  <a:lnTo>
                    <a:pt x="1452" y="370"/>
                  </a:lnTo>
                  <a:lnTo>
                    <a:pt x="1456" y="352"/>
                  </a:lnTo>
                  <a:lnTo>
                    <a:pt x="1458" y="336"/>
                  </a:lnTo>
                  <a:lnTo>
                    <a:pt x="1460" y="318"/>
                  </a:lnTo>
                  <a:lnTo>
                    <a:pt x="1462" y="300"/>
                  </a:lnTo>
                  <a:lnTo>
                    <a:pt x="1462" y="300"/>
                  </a:lnTo>
                  <a:lnTo>
                    <a:pt x="1460" y="270"/>
                  </a:lnTo>
                  <a:lnTo>
                    <a:pt x="1454" y="240"/>
                  </a:lnTo>
                  <a:lnTo>
                    <a:pt x="1444" y="212"/>
                  </a:lnTo>
                  <a:lnTo>
                    <a:pt x="1432" y="184"/>
                  </a:lnTo>
                  <a:lnTo>
                    <a:pt x="1416" y="158"/>
                  </a:lnTo>
                  <a:lnTo>
                    <a:pt x="1396" y="132"/>
                  </a:lnTo>
                  <a:lnTo>
                    <a:pt x="1374" y="110"/>
                  </a:lnTo>
                  <a:lnTo>
                    <a:pt x="1348" y="88"/>
                  </a:lnTo>
                  <a:lnTo>
                    <a:pt x="1322" y="70"/>
                  </a:lnTo>
                  <a:lnTo>
                    <a:pt x="1292" y="52"/>
                  </a:lnTo>
                  <a:lnTo>
                    <a:pt x="1260" y="36"/>
                  </a:lnTo>
                  <a:lnTo>
                    <a:pt x="1226" y="24"/>
                  </a:lnTo>
                  <a:lnTo>
                    <a:pt x="1190" y="14"/>
                  </a:lnTo>
                  <a:lnTo>
                    <a:pt x="1154" y="6"/>
                  </a:lnTo>
                  <a:lnTo>
                    <a:pt x="1116" y="2"/>
                  </a:lnTo>
                  <a:lnTo>
                    <a:pt x="1076" y="0"/>
                  </a:lnTo>
                  <a:lnTo>
                    <a:pt x="1076" y="0"/>
                  </a:lnTo>
                  <a:lnTo>
                    <a:pt x="1048" y="2"/>
                  </a:lnTo>
                  <a:lnTo>
                    <a:pt x="1020" y="4"/>
                  </a:lnTo>
                  <a:lnTo>
                    <a:pt x="994" y="8"/>
                  </a:lnTo>
                  <a:lnTo>
                    <a:pt x="966" y="12"/>
                  </a:lnTo>
                  <a:lnTo>
                    <a:pt x="942" y="20"/>
                  </a:lnTo>
                  <a:lnTo>
                    <a:pt x="916" y="28"/>
                  </a:lnTo>
                  <a:lnTo>
                    <a:pt x="892" y="36"/>
                  </a:lnTo>
                  <a:lnTo>
                    <a:pt x="870" y="48"/>
                  </a:lnTo>
                  <a:lnTo>
                    <a:pt x="848" y="58"/>
                  </a:lnTo>
                  <a:lnTo>
                    <a:pt x="828" y="72"/>
                  </a:lnTo>
                  <a:lnTo>
                    <a:pt x="808" y="86"/>
                  </a:lnTo>
                  <a:lnTo>
                    <a:pt x="790" y="100"/>
                  </a:lnTo>
                  <a:lnTo>
                    <a:pt x="772" y="116"/>
                  </a:lnTo>
                  <a:lnTo>
                    <a:pt x="756" y="132"/>
                  </a:lnTo>
                  <a:lnTo>
                    <a:pt x="742" y="150"/>
                  </a:lnTo>
                  <a:lnTo>
                    <a:pt x="730" y="168"/>
                  </a:lnTo>
                  <a:lnTo>
                    <a:pt x="730" y="168"/>
                  </a:lnTo>
                  <a:lnTo>
                    <a:pt x="718" y="150"/>
                  </a:lnTo>
                  <a:lnTo>
                    <a:pt x="704" y="132"/>
                  </a:lnTo>
                  <a:lnTo>
                    <a:pt x="688" y="116"/>
                  </a:lnTo>
                  <a:lnTo>
                    <a:pt x="672" y="100"/>
                  </a:lnTo>
                  <a:lnTo>
                    <a:pt x="652" y="86"/>
                  </a:lnTo>
                  <a:lnTo>
                    <a:pt x="634" y="72"/>
                  </a:lnTo>
                  <a:lnTo>
                    <a:pt x="612" y="58"/>
                  </a:lnTo>
                  <a:lnTo>
                    <a:pt x="590" y="48"/>
                  </a:lnTo>
                  <a:lnTo>
                    <a:pt x="568" y="36"/>
                  </a:lnTo>
                  <a:lnTo>
                    <a:pt x="544" y="28"/>
                  </a:lnTo>
                  <a:lnTo>
                    <a:pt x="520" y="20"/>
                  </a:lnTo>
                  <a:lnTo>
                    <a:pt x="494" y="12"/>
                  </a:lnTo>
                  <a:lnTo>
                    <a:pt x="468" y="8"/>
                  </a:lnTo>
                  <a:lnTo>
                    <a:pt x="440" y="4"/>
                  </a:lnTo>
                  <a:lnTo>
                    <a:pt x="412" y="2"/>
                  </a:lnTo>
                  <a:lnTo>
                    <a:pt x="384" y="0"/>
                  </a:lnTo>
                  <a:lnTo>
                    <a:pt x="384" y="0"/>
                  </a:lnTo>
                  <a:lnTo>
                    <a:pt x="346" y="2"/>
                  </a:lnTo>
                  <a:lnTo>
                    <a:pt x="306" y="6"/>
                  </a:lnTo>
                  <a:lnTo>
                    <a:pt x="270" y="14"/>
                  </a:lnTo>
                  <a:lnTo>
                    <a:pt x="234" y="24"/>
                  </a:lnTo>
                  <a:lnTo>
                    <a:pt x="200" y="36"/>
                  </a:lnTo>
                  <a:lnTo>
                    <a:pt x="168" y="52"/>
                  </a:lnTo>
                  <a:lnTo>
                    <a:pt x="140" y="70"/>
                  </a:lnTo>
                  <a:lnTo>
                    <a:pt x="112" y="88"/>
                  </a:lnTo>
                  <a:lnTo>
                    <a:pt x="88" y="110"/>
                  </a:lnTo>
                  <a:lnTo>
                    <a:pt x="64" y="132"/>
                  </a:lnTo>
                  <a:lnTo>
                    <a:pt x="46" y="158"/>
                  </a:lnTo>
                  <a:lnTo>
                    <a:pt x="30" y="184"/>
                  </a:lnTo>
                  <a:lnTo>
                    <a:pt x="16" y="212"/>
                  </a:lnTo>
                  <a:lnTo>
                    <a:pt x="6" y="240"/>
                  </a:lnTo>
                  <a:lnTo>
                    <a:pt x="2" y="270"/>
                  </a:lnTo>
                  <a:lnTo>
                    <a:pt x="0" y="300"/>
                  </a:lnTo>
                  <a:lnTo>
                    <a:pt x="0" y="300"/>
                  </a:lnTo>
                  <a:lnTo>
                    <a:pt x="0" y="318"/>
                  </a:lnTo>
                  <a:lnTo>
                    <a:pt x="2" y="336"/>
                  </a:lnTo>
                  <a:lnTo>
                    <a:pt x="6" y="352"/>
                  </a:lnTo>
                  <a:lnTo>
                    <a:pt x="10" y="370"/>
                  </a:lnTo>
                  <a:lnTo>
                    <a:pt x="16" y="386"/>
                  </a:lnTo>
                  <a:lnTo>
                    <a:pt x="22" y="402"/>
                  </a:lnTo>
                  <a:lnTo>
                    <a:pt x="40" y="432"/>
                  </a:lnTo>
                  <a:lnTo>
                    <a:pt x="730" y="432"/>
                  </a:lnTo>
                  <a:close/>
                </a:path>
              </a:pathLst>
            </a:custGeom>
            <a:solidFill>
              <a:srgbClr val="2B8948"/>
            </a:solid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sp>
          <p:nvSpPr>
            <p:cNvPr id="950" name="Freeform 115"/>
            <p:cNvSpPr>
              <a:spLocks noEditPoints="1"/>
            </p:cNvSpPr>
            <p:nvPr/>
          </p:nvSpPr>
          <p:spPr bwMode="auto">
            <a:xfrm>
              <a:off x="15768277" y="1650860"/>
              <a:ext cx="3067333" cy="3279771"/>
            </a:xfrm>
            <a:custGeom>
              <a:avLst/>
              <a:gdLst>
                <a:gd name="T0" fmla="*/ 0 w 2492"/>
                <a:gd name="T1" fmla="*/ 1610 h 2066"/>
                <a:gd name="T2" fmla="*/ 28 w 2492"/>
                <a:gd name="T3" fmla="*/ 1600 h 2066"/>
                <a:gd name="T4" fmla="*/ 86 w 2492"/>
                <a:gd name="T5" fmla="*/ 1580 h 2066"/>
                <a:gd name="T6" fmla="*/ 146 w 2492"/>
                <a:gd name="T7" fmla="*/ 1566 h 2066"/>
                <a:gd name="T8" fmla="*/ 210 w 2492"/>
                <a:gd name="T9" fmla="*/ 1558 h 2066"/>
                <a:gd name="T10" fmla="*/ 244 w 2492"/>
                <a:gd name="T11" fmla="*/ 1430 h 2066"/>
                <a:gd name="T12" fmla="*/ 594 w 2492"/>
                <a:gd name="T13" fmla="*/ 1630 h 2066"/>
                <a:gd name="T14" fmla="*/ 616 w 2492"/>
                <a:gd name="T15" fmla="*/ 1642 h 2066"/>
                <a:gd name="T16" fmla="*/ 658 w 2492"/>
                <a:gd name="T17" fmla="*/ 1670 h 2066"/>
                <a:gd name="T18" fmla="*/ 696 w 2492"/>
                <a:gd name="T19" fmla="*/ 1702 h 2066"/>
                <a:gd name="T20" fmla="*/ 728 w 2492"/>
                <a:gd name="T21" fmla="*/ 1736 h 2066"/>
                <a:gd name="T22" fmla="*/ 754 w 2492"/>
                <a:gd name="T23" fmla="*/ 1772 h 2066"/>
                <a:gd name="T24" fmla="*/ 774 w 2492"/>
                <a:gd name="T25" fmla="*/ 1812 h 2066"/>
                <a:gd name="T26" fmla="*/ 788 w 2492"/>
                <a:gd name="T27" fmla="*/ 1852 h 2066"/>
                <a:gd name="T28" fmla="*/ 796 w 2492"/>
                <a:gd name="T29" fmla="*/ 1894 h 2066"/>
                <a:gd name="T30" fmla="*/ 796 w 2492"/>
                <a:gd name="T31" fmla="*/ 1916 h 2066"/>
                <a:gd name="T32" fmla="*/ 794 w 2492"/>
                <a:gd name="T33" fmla="*/ 1956 h 2066"/>
                <a:gd name="T34" fmla="*/ 784 w 2492"/>
                <a:gd name="T35" fmla="*/ 1994 h 2066"/>
                <a:gd name="T36" fmla="*/ 770 w 2492"/>
                <a:gd name="T37" fmla="*/ 2030 h 2066"/>
                <a:gd name="T38" fmla="*/ 750 w 2492"/>
                <a:gd name="T39" fmla="*/ 2066 h 2066"/>
                <a:gd name="T40" fmla="*/ 1924 w 2492"/>
                <a:gd name="T41" fmla="*/ 1430 h 2066"/>
                <a:gd name="T42" fmla="*/ 2274 w 2492"/>
                <a:gd name="T43" fmla="*/ 2066 h 2066"/>
                <a:gd name="T44" fmla="*/ 2492 w 2492"/>
                <a:gd name="T45" fmla="*/ 0 h 2066"/>
                <a:gd name="T46" fmla="*/ 594 w 2492"/>
                <a:gd name="T47" fmla="*/ 1180 h 2066"/>
                <a:gd name="T48" fmla="*/ 244 w 2492"/>
                <a:gd name="T49" fmla="*/ 852 h 2066"/>
                <a:gd name="T50" fmla="*/ 594 w 2492"/>
                <a:gd name="T51" fmla="*/ 1180 h 2066"/>
                <a:gd name="T52" fmla="*/ 244 w 2492"/>
                <a:gd name="T53" fmla="*/ 600 h 2066"/>
                <a:gd name="T54" fmla="*/ 594 w 2492"/>
                <a:gd name="T55" fmla="*/ 272 h 2066"/>
                <a:gd name="T56" fmla="*/ 1156 w 2492"/>
                <a:gd name="T57" fmla="*/ 1758 h 2066"/>
                <a:gd name="T58" fmla="*/ 806 w 2492"/>
                <a:gd name="T59" fmla="*/ 1430 h 2066"/>
                <a:gd name="T60" fmla="*/ 1156 w 2492"/>
                <a:gd name="T61" fmla="*/ 1758 h 2066"/>
                <a:gd name="T62" fmla="*/ 806 w 2492"/>
                <a:gd name="T63" fmla="*/ 1180 h 2066"/>
                <a:gd name="T64" fmla="*/ 1156 w 2492"/>
                <a:gd name="T65" fmla="*/ 852 h 2066"/>
                <a:gd name="T66" fmla="*/ 1156 w 2492"/>
                <a:gd name="T67" fmla="*/ 600 h 2066"/>
                <a:gd name="T68" fmla="*/ 806 w 2492"/>
                <a:gd name="T69" fmla="*/ 272 h 2066"/>
                <a:gd name="T70" fmla="*/ 1156 w 2492"/>
                <a:gd name="T71" fmla="*/ 600 h 2066"/>
                <a:gd name="T72" fmla="*/ 1356 w 2492"/>
                <a:gd name="T73" fmla="*/ 1758 h 2066"/>
                <a:gd name="T74" fmla="*/ 1706 w 2492"/>
                <a:gd name="T75" fmla="*/ 1430 h 2066"/>
                <a:gd name="T76" fmla="*/ 1706 w 2492"/>
                <a:gd name="T77" fmla="*/ 1180 h 2066"/>
                <a:gd name="T78" fmla="*/ 1356 w 2492"/>
                <a:gd name="T79" fmla="*/ 852 h 2066"/>
                <a:gd name="T80" fmla="*/ 1706 w 2492"/>
                <a:gd name="T81" fmla="*/ 1180 h 2066"/>
                <a:gd name="T82" fmla="*/ 1356 w 2492"/>
                <a:gd name="T83" fmla="*/ 600 h 2066"/>
                <a:gd name="T84" fmla="*/ 1706 w 2492"/>
                <a:gd name="T85" fmla="*/ 272 h 2066"/>
                <a:gd name="T86" fmla="*/ 2274 w 2492"/>
                <a:gd name="T87" fmla="*/ 1180 h 2066"/>
                <a:gd name="T88" fmla="*/ 1924 w 2492"/>
                <a:gd name="T89" fmla="*/ 852 h 2066"/>
                <a:gd name="T90" fmla="*/ 2274 w 2492"/>
                <a:gd name="T91" fmla="*/ 1180 h 2066"/>
                <a:gd name="T92" fmla="*/ 1924 w 2492"/>
                <a:gd name="T93" fmla="*/ 600 h 2066"/>
                <a:gd name="T94" fmla="*/ 2274 w 2492"/>
                <a:gd name="T95" fmla="*/ 272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066">
                  <a:moveTo>
                    <a:pt x="0" y="0"/>
                  </a:moveTo>
                  <a:lnTo>
                    <a:pt x="0" y="1610"/>
                  </a:lnTo>
                  <a:lnTo>
                    <a:pt x="0" y="1610"/>
                  </a:lnTo>
                  <a:lnTo>
                    <a:pt x="28" y="1600"/>
                  </a:lnTo>
                  <a:lnTo>
                    <a:pt x="56" y="1590"/>
                  </a:lnTo>
                  <a:lnTo>
                    <a:pt x="86" y="1580"/>
                  </a:lnTo>
                  <a:lnTo>
                    <a:pt x="116" y="1574"/>
                  </a:lnTo>
                  <a:lnTo>
                    <a:pt x="146" y="1566"/>
                  </a:lnTo>
                  <a:lnTo>
                    <a:pt x="178" y="1562"/>
                  </a:lnTo>
                  <a:lnTo>
                    <a:pt x="210" y="1558"/>
                  </a:lnTo>
                  <a:lnTo>
                    <a:pt x="244" y="1556"/>
                  </a:lnTo>
                  <a:lnTo>
                    <a:pt x="244" y="1430"/>
                  </a:lnTo>
                  <a:lnTo>
                    <a:pt x="594" y="1430"/>
                  </a:lnTo>
                  <a:lnTo>
                    <a:pt x="594" y="1630"/>
                  </a:lnTo>
                  <a:lnTo>
                    <a:pt x="594" y="1630"/>
                  </a:lnTo>
                  <a:lnTo>
                    <a:pt x="616" y="1642"/>
                  </a:lnTo>
                  <a:lnTo>
                    <a:pt x="638" y="1656"/>
                  </a:lnTo>
                  <a:lnTo>
                    <a:pt x="658" y="1670"/>
                  </a:lnTo>
                  <a:lnTo>
                    <a:pt x="678" y="1686"/>
                  </a:lnTo>
                  <a:lnTo>
                    <a:pt x="696" y="1702"/>
                  </a:lnTo>
                  <a:lnTo>
                    <a:pt x="712" y="1718"/>
                  </a:lnTo>
                  <a:lnTo>
                    <a:pt x="728" y="1736"/>
                  </a:lnTo>
                  <a:lnTo>
                    <a:pt x="742" y="1754"/>
                  </a:lnTo>
                  <a:lnTo>
                    <a:pt x="754" y="1772"/>
                  </a:lnTo>
                  <a:lnTo>
                    <a:pt x="764" y="1792"/>
                  </a:lnTo>
                  <a:lnTo>
                    <a:pt x="774" y="1812"/>
                  </a:lnTo>
                  <a:lnTo>
                    <a:pt x="782" y="1832"/>
                  </a:lnTo>
                  <a:lnTo>
                    <a:pt x="788" y="1852"/>
                  </a:lnTo>
                  <a:lnTo>
                    <a:pt x="792" y="1872"/>
                  </a:lnTo>
                  <a:lnTo>
                    <a:pt x="796" y="1894"/>
                  </a:lnTo>
                  <a:lnTo>
                    <a:pt x="796" y="1916"/>
                  </a:lnTo>
                  <a:lnTo>
                    <a:pt x="796" y="1916"/>
                  </a:lnTo>
                  <a:lnTo>
                    <a:pt x="796" y="1936"/>
                  </a:lnTo>
                  <a:lnTo>
                    <a:pt x="794" y="1956"/>
                  </a:lnTo>
                  <a:lnTo>
                    <a:pt x="790" y="1974"/>
                  </a:lnTo>
                  <a:lnTo>
                    <a:pt x="784" y="1994"/>
                  </a:lnTo>
                  <a:lnTo>
                    <a:pt x="778" y="2012"/>
                  </a:lnTo>
                  <a:lnTo>
                    <a:pt x="770" y="2030"/>
                  </a:lnTo>
                  <a:lnTo>
                    <a:pt x="760" y="2048"/>
                  </a:lnTo>
                  <a:lnTo>
                    <a:pt x="750" y="2066"/>
                  </a:lnTo>
                  <a:lnTo>
                    <a:pt x="1924" y="2066"/>
                  </a:lnTo>
                  <a:lnTo>
                    <a:pt x="1924" y="1430"/>
                  </a:lnTo>
                  <a:lnTo>
                    <a:pt x="2274" y="1430"/>
                  </a:lnTo>
                  <a:lnTo>
                    <a:pt x="2274" y="2066"/>
                  </a:lnTo>
                  <a:lnTo>
                    <a:pt x="2492" y="2066"/>
                  </a:lnTo>
                  <a:lnTo>
                    <a:pt x="2492" y="0"/>
                  </a:lnTo>
                  <a:lnTo>
                    <a:pt x="0" y="0"/>
                  </a:lnTo>
                  <a:close/>
                  <a:moveTo>
                    <a:pt x="594" y="1180"/>
                  </a:moveTo>
                  <a:lnTo>
                    <a:pt x="244" y="1180"/>
                  </a:lnTo>
                  <a:lnTo>
                    <a:pt x="244" y="852"/>
                  </a:lnTo>
                  <a:lnTo>
                    <a:pt x="594" y="852"/>
                  </a:lnTo>
                  <a:lnTo>
                    <a:pt x="594" y="1180"/>
                  </a:lnTo>
                  <a:close/>
                  <a:moveTo>
                    <a:pt x="594" y="600"/>
                  </a:moveTo>
                  <a:lnTo>
                    <a:pt x="244" y="600"/>
                  </a:lnTo>
                  <a:lnTo>
                    <a:pt x="244" y="272"/>
                  </a:lnTo>
                  <a:lnTo>
                    <a:pt x="594" y="272"/>
                  </a:lnTo>
                  <a:lnTo>
                    <a:pt x="594" y="600"/>
                  </a:lnTo>
                  <a:close/>
                  <a:moveTo>
                    <a:pt x="1156" y="1758"/>
                  </a:moveTo>
                  <a:lnTo>
                    <a:pt x="806" y="1758"/>
                  </a:lnTo>
                  <a:lnTo>
                    <a:pt x="806" y="1430"/>
                  </a:lnTo>
                  <a:lnTo>
                    <a:pt x="1156" y="1430"/>
                  </a:lnTo>
                  <a:lnTo>
                    <a:pt x="1156" y="1758"/>
                  </a:lnTo>
                  <a:close/>
                  <a:moveTo>
                    <a:pt x="1156" y="1180"/>
                  </a:moveTo>
                  <a:lnTo>
                    <a:pt x="806" y="1180"/>
                  </a:lnTo>
                  <a:lnTo>
                    <a:pt x="806" y="852"/>
                  </a:lnTo>
                  <a:lnTo>
                    <a:pt x="1156" y="852"/>
                  </a:lnTo>
                  <a:lnTo>
                    <a:pt x="1156" y="1180"/>
                  </a:lnTo>
                  <a:close/>
                  <a:moveTo>
                    <a:pt x="1156" y="600"/>
                  </a:moveTo>
                  <a:lnTo>
                    <a:pt x="806" y="600"/>
                  </a:lnTo>
                  <a:lnTo>
                    <a:pt x="806" y="272"/>
                  </a:lnTo>
                  <a:lnTo>
                    <a:pt x="1156" y="272"/>
                  </a:lnTo>
                  <a:lnTo>
                    <a:pt x="1156" y="600"/>
                  </a:lnTo>
                  <a:close/>
                  <a:moveTo>
                    <a:pt x="1706" y="1758"/>
                  </a:moveTo>
                  <a:lnTo>
                    <a:pt x="1356" y="1758"/>
                  </a:lnTo>
                  <a:lnTo>
                    <a:pt x="1356" y="1430"/>
                  </a:lnTo>
                  <a:lnTo>
                    <a:pt x="1706" y="1430"/>
                  </a:lnTo>
                  <a:lnTo>
                    <a:pt x="1706" y="1758"/>
                  </a:lnTo>
                  <a:close/>
                  <a:moveTo>
                    <a:pt x="1706" y="1180"/>
                  </a:moveTo>
                  <a:lnTo>
                    <a:pt x="1356" y="1180"/>
                  </a:lnTo>
                  <a:lnTo>
                    <a:pt x="1356" y="852"/>
                  </a:lnTo>
                  <a:lnTo>
                    <a:pt x="1706" y="852"/>
                  </a:lnTo>
                  <a:lnTo>
                    <a:pt x="1706" y="1180"/>
                  </a:lnTo>
                  <a:close/>
                  <a:moveTo>
                    <a:pt x="1706" y="600"/>
                  </a:moveTo>
                  <a:lnTo>
                    <a:pt x="1356" y="600"/>
                  </a:lnTo>
                  <a:lnTo>
                    <a:pt x="1356" y="272"/>
                  </a:lnTo>
                  <a:lnTo>
                    <a:pt x="1706" y="272"/>
                  </a:lnTo>
                  <a:lnTo>
                    <a:pt x="1706" y="600"/>
                  </a:lnTo>
                  <a:close/>
                  <a:moveTo>
                    <a:pt x="2274" y="1180"/>
                  </a:moveTo>
                  <a:lnTo>
                    <a:pt x="1924" y="1180"/>
                  </a:lnTo>
                  <a:lnTo>
                    <a:pt x="1924" y="852"/>
                  </a:lnTo>
                  <a:lnTo>
                    <a:pt x="2274" y="852"/>
                  </a:lnTo>
                  <a:lnTo>
                    <a:pt x="2274" y="1180"/>
                  </a:lnTo>
                  <a:close/>
                  <a:moveTo>
                    <a:pt x="2274" y="600"/>
                  </a:moveTo>
                  <a:lnTo>
                    <a:pt x="1924" y="600"/>
                  </a:lnTo>
                  <a:lnTo>
                    <a:pt x="1924" y="272"/>
                  </a:lnTo>
                  <a:lnTo>
                    <a:pt x="2274" y="272"/>
                  </a:lnTo>
                  <a:lnTo>
                    <a:pt x="2274"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951" name="Group 950"/>
          <p:cNvGrpSpPr/>
          <p:nvPr/>
        </p:nvGrpSpPr>
        <p:grpSpPr>
          <a:xfrm>
            <a:off x="7772827" y="3895882"/>
            <a:ext cx="278660" cy="339399"/>
            <a:chOff x="9572419" y="3805876"/>
            <a:chExt cx="278660" cy="339399"/>
          </a:xfrm>
        </p:grpSpPr>
        <p:sp>
          <p:nvSpPr>
            <p:cNvPr id="952" name="Freeform 72"/>
            <p:cNvSpPr>
              <a:spLocks/>
            </p:cNvSpPr>
            <p:nvPr/>
          </p:nvSpPr>
          <p:spPr bwMode="auto">
            <a:xfrm rot="16200000">
              <a:off x="9542049" y="3836246"/>
              <a:ext cx="339399" cy="278660"/>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00607A"/>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3" name="Group 952"/>
            <p:cNvGrpSpPr/>
            <p:nvPr/>
          </p:nvGrpSpPr>
          <p:grpSpPr>
            <a:xfrm rot="16200000">
              <a:off x="9559177" y="3854345"/>
              <a:ext cx="304414" cy="242461"/>
              <a:chOff x="-4206875" y="1603375"/>
              <a:chExt cx="3978275" cy="3168650"/>
            </a:xfrm>
            <a:solidFill>
              <a:schemeClr val="accent1">
                <a:lumMod val="75000"/>
              </a:schemeClr>
            </a:solidFill>
          </p:grpSpPr>
          <p:sp>
            <p:nvSpPr>
              <p:cNvPr id="954"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5"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6"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7"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8"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9"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0"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1"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962" name="Bent Arrow 961"/>
          <p:cNvSpPr/>
          <p:nvPr/>
        </p:nvSpPr>
        <p:spPr bwMode="auto">
          <a:xfrm flipH="1">
            <a:off x="7352204" y="2915033"/>
            <a:ext cx="633398" cy="366623"/>
          </a:xfrm>
          <a:prstGeom prst="bentArrow">
            <a:avLst>
              <a:gd name="adj1" fmla="val 17986"/>
              <a:gd name="adj2" fmla="val 30248"/>
              <a:gd name="adj3" fmla="val 0"/>
              <a:gd name="adj4" fmla="val 57094"/>
            </a:avLst>
          </a:prstGeom>
          <a:solidFill>
            <a:srgbClr val="1B3B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963" name="Group 962"/>
          <p:cNvGrpSpPr>
            <a:grpSpLocks noChangeAspect="1"/>
          </p:cNvGrpSpPr>
          <p:nvPr/>
        </p:nvGrpSpPr>
        <p:grpSpPr>
          <a:xfrm>
            <a:off x="8455902" y="3370225"/>
            <a:ext cx="474409" cy="904327"/>
            <a:chOff x="13253772" y="-14449"/>
            <a:chExt cx="3216275" cy="6130925"/>
          </a:xfrm>
          <a:solidFill>
            <a:schemeClr val="bg1"/>
          </a:solidFill>
        </p:grpSpPr>
        <p:sp>
          <p:nvSpPr>
            <p:cNvPr id="964" name="Freeform 120"/>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5" name="Freeform 121"/>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67" name="Rectangle 966"/>
          <p:cNvSpPr/>
          <p:nvPr/>
        </p:nvSpPr>
        <p:spPr bwMode="auto">
          <a:xfrm>
            <a:off x="7528556" y="2000562"/>
            <a:ext cx="2248996" cy="658368"/>
          </a:xfrm>
          <a:prstGeom prst="rect">
            <a:avLst/>
          </a:prstGeom>
          <a:solidFill>
            <a:srgbClr val="5F8A9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z="900" dirty="0">
                <a:solidFill>
                  <a:srgbClr val="FFFFFF"/>
                </a:solidFill>
              </a:rPr>
              <a:t>Transmits operational information to the partner (e.g. OEM) and to field service engineers for remote process automation and optimization. </a:t>
            </a:r>
            <a:endParaRPr lang="en-US" sz="900" dirty="0">
              <a:ln w="3175">
                <a:noFill/>
              </a:ln>
              <a:solidFill>
                <a:srgbClr val="FFFFFF"/>
              </a:solidFill>
              <a:cs typeface="Arial" charset="0"/>
            </a:endParaRPr>
          </a:p>
        </p:txBody>
      </p:sp>
      <p:cxnSp>
        <p:nvCxnSpPr>
          <p:cNvPr id="968" name="Straight Connector 967"/>
          <p:cNvCxnSpPr/>
          <p:nvPr/>
        </p:nvCxnSpPr>
        <p:spPr>
          <a:xfrm flipV="1">
            <a:off x="7528557" y="2000562"/>
            <a:ext cx="1" cy="658368"/>
          </a:xfrm>
          <a:prstGeom prst="line">
            <a:avLst/>
          </a:prstGeom>
          <a:solidFill>
            <a:srgbClr val="8DC548">
              <a:alpha val="50000"/>
            </a:srgbClr>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74" name="Group 973"/>
          <p:cNvGrpSpPr>
            <a:grpSpLocks noChangeAspect="1"/>
          </p:cNvGrpSpPr>
          <p:nvPr/>
        </p:nvGrpSpPr>
        <p:grpSpPr>
          <a:xfrm>
            <a:off x="1476453" y="3365644"/>
            <a:ext cx="254191" cy="208701"/>
            <a:chOff x="-4435475" y="1371600"/>
            <a:chExt cx="4435475" cy="3641725"/>
          </a:xfrm>
        </p:grpSpPr>
        <p:sp>
          <p:nvSpPr>
            <p:cNvPr id="975"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solidFill>
              <a:srgbClr val="2E6570"/>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76" name="Group 975"/>
            <p:cNvGrpSpPr/>
            <p:nvPr/>
          </p:nvGrpSpPr>
          <p:grpSpPr>
            <a:xfrm>
              <a:off x="-4206871" y="1603382"/>
              <a:ext cx="3978266" cy="3168652"/>
              <a:chOff x="-4206875" y="1603375"/>
              <a:chExt cx="3978275" cy="3168650"/>
            </a:xfrm>
            <a:solidFill>
              <a:schemeClr val="bg1"/>
            </a:solidFill>
          </p:grpSpPr>
          <p:sp>
            <p:nvSpPr>
              <p:cNvPr id="977"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8"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9"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0"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1"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2"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3"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4"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cxnSp>
        <p:nvCxnSpPr>
          <p:cNvPr id="985" name="Elbow Connector 984"/>
          <p:cNvCxnSpPr>
            <a:stCxn id="967" idx="1"/>
            <a:endCxn id="19" idx="1"/>
          </p:cNvCxnSpPr>
          <p:nvPr/>
        </p:nvCxnSpPr>
        <p:spPr>
          <a:xfrm rot="10800000" flipH="1" flipV="1">
            <a:off x="7528556" y="2329746"/>
            <a:ext cx="229002" cy="1756299"/>
          </a:xfrm>
          <a:prstGeom prst="bentConnector3">
            <a:avLst>
              <a:gd name="adj1" fmla="val -39514"/>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86" name="Isosceles Triangle 10"/>
          <p:cNvSpPr/>
          <p:nvPr/>
        </p:nvSpPr>
        <p:spPr bwMode="auto">
          <a:xfrm rot="10800000">
            <a:off x="5801426" y="2562825"/>
            <a:ext cx="637856" cy="974291"/>
          </a:xfrm>
          <a:custGeom>
            <a:avLst/>
            <a:gdLst>
              <a:gd name="connsiteX0" fmla="*/ 0 w 537776"/>
              <a:gd name="connsiteY0" fmla="*/ 1305828 h 1305828"/>
              <a:gd name="connsiteX1" fmla="*/ 268888 w 537776"/>
              <a:gd name="connsiteY1" fmla="*/ 0 h 1305828"/>
              <a:gd name="connsiteX2" fmla="*/ 537776 w 537776"/>
              <a:gd name="connsiteY2" fmla="*/ 1305828 h 1305828"/>
              <a:gd name="connsiteX3" fmla="*/ 0 w 537776"/>
              <a:gd name="connsiteY3" fmla="*/ 1305828 h 1305828"/>
              <a:gd name="connsiteX0" fmla="*/ 0 w 1193982"/>
              <a:gd name="connsiteY0" fmla="*/ 984986 h 984986"/>
              <a:gd name="connsiteX1" fmla="*/ 1193982 w 1193982"/>
              <a:gd name="connsiteY1" fmla="*/ 0 h 984986"/>
              <a:gd name="connsiteX2" fmla="*/ 537776 w 1193982"/>
              <a:gd name="connsiteY2" fmla="*/ 984986 h 984986"/>
              <a:gd name="connsiteX3" fmla="*/ 0 w 1193982"/>
              <a:gd name="connsiteY3" fmla="*/ 984986 h 984986"/>
              <a:gd name="connsiteX0" fmla="*/ 0 w 830361"/>
              <a:gd name="connsiteY0" fmla="*/ 685533 h 984986"/>
              <a:gd name="connsiteX1" fmla="*/ 830361 w 830361"/>
              <a:gd name="connsiteY1" fmla="*/ 0 h 984986"/>
              <a:gd name="connsiteX2" fmla="*/ 174155 w 830361"/>
              <a:gd name="connsiteY2" fmla="*/ 984986 h 984986"/>
              <a:gd name="connsiteX3" fmla="*/ 0 w 830361"/>
              <a:gd name="connsiteY3" fmla="*/ 685533 h 984986"/>
              <a:gd name="connsiteX0" fmla="*/ 0 w 830361"/>
              <a:gd name="connsiteY0" fmla="*/ 685533 h 1033112"/>
              <a:gd name="connsiteX1" fmla="*/ 830361 w 830361"/>
              <a:gd name="connsiteY1" fmla="*/ 0 h 1033112"/>
              <a:gd name="connsiteX2" fmla="*/ 548471 w 830361"/>
              <a:gd name="connsiteY2" fmla="*/ 1033112 h 1033112"/>
              <a:gd name="connsiteX3" fmla="*/ 0 w 830361"/>
              <a:gd name="connsiteY3" fmla="*/ 685533 h 1033112"/>
              <a:gd name="connsiteX0" fmla="*/ 0 w 637856"/>
              <a:gd name="connsiteY0" fmla="*/ 974291 h 1033112"/>
              <a:gd name="connsiteX1" fmla="*/ 637856 w 637856"/>
              <a:gd name="connsiteY1" fmla="*/ 0 h 1033112"/>
              <a:gd name="connsiteX2" fmla="*/ 355966 w 637856"/>
              <a:gd name="connsiteY2" fmla="*/ 1033112 h 1033112"/>
              <a:gd name="connsiteX3" fmla="*/ 0 w 637856"/>
              <a:gd name="connsiteY3" fmla="*/ 974291 h 1033112"/>
              <a:gd name="connsiteX0" fmla="*/ 0 w 637856"/>
              <a:gd name="connsiteY0" fmla="*/ 974291 h 990333"/>
              <a:gd name="connsiteX1" fmla="*/ 637856 w 637856"/>
              <a:gd name="connsiteY1" fmla="*/ 0 h 990333"/>
              <a:gd name="connsiteX2" fmla="*/ 462913 w 637856"/>
              <a:gd name="connsiteY2" fmla="*/ 990333 h 990333"/>
              <a:gd name="connsiteX3" fmla="*/ 0 w 637856"/>
              <a:gd name="connsiteY3" fmla="*/ 974291 h 990333"/>
              <a:gd name="connsiteX0" fmla="*/ 0 w 637856"/>
              <a:gd name="connsiteY0" fmla="*/ 974291 h 974291"/>
              <a:gd name="connsiteX1" fmla="*/ 637856 w 637856"/>
              <a:gd name="connsiteY1" fmla="*/ 0 h 974291"/>
              <a:gd name="connsiteX2" fmla="*/ 462913 w 637856"/>
              <a:gd name="connsiteY2" fmla="*/ 974291 h 974291"/>
              <a:gd name="connsiteX3" fmla="*/ 0 w 637856"/>
              <a:gd name="connsiteY3" fmla="*/ 974291 h 974291"/>
            </a:gdLst>
            <a:ahLst/>
            <a:cxnLst>
              <a:cxn ang="0">
                <a:pos x="connsiteX0" y="connsiteY0"/>
              </a:cxn>
              <a:cxn ang="0">
                <a:pos x="connsiteX1" y="connsiteY1"/>
              </a:cxn>
              <a:cxn ang="0">
                <a:pos x="connsiteX2" y="connsiteY2"/>
              </a:cxn>
              <a:cxn ang="0">
                <a:pos x="connsiteX3" y="connsiteY3"/>
              </a:cxn>
            </a:cxnLst>
            <a:rect l="l" t="t" r="r" b="b"/>
            <a:pathLst>
              <a:path w="637856" h="974291">
                <a:moveTo>
                  <a:pt x="0" y="974291"/>
                </a:moveTo>
                <a:lnTo>
                  <a:pt x="637856" y="0"/>
                </a:lnTo>
                <a:lnTo>
                  <a:pt x="462913" y="974291"/>
                </a:lnTo>
                <a:lnTo>
                  <a:pt x="0" y="974291"/>
                </a:lnTo>
                <a:close/>
              </a:path>
            </a:pathLst>
          </a:custGeom>
          <a:solidFill>
            <a:schemeClr val="accent5">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cxnSp>
        <p:nvCxnSpPr>
          <p:cNvPr id="987" name="Straight Connector 986"/>
          <p:cNvCxnSpPr/>
          <p:nvPr/>
        </p:nvCxnSpPr>
        <p:spPr>
          <a:xfrm>
            <a:off x="5582431" y="2264495"/>
            <a:ext cx="405449" cy="1"/>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994" name="Rectangle 993"/>
          <p:cNvSpPr/>
          <p:nvPr/>
        </p:nvSpPr>
        <p:spPr bwMode="auto">
          <a:xfrm rot="2366189">
            <a:off x="5484946" y="3685235"/>
            <a:ext cx="191499" cy="24243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995" name="Rectangle 21"/>
          <p:cNvSpPr/>
          <p:nvPr/>
        </p:nvSpPr>
        <p:spPr bwMode="auto">
          <a:xfrm rot="19936818">
            <a:off x="5480287" y="2951615"/>
            <a:ext cx="204286" cy="54183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996" name="Rectangle 29"/>
          <p:cNvSpPr/>
          <p:nvPr/>
        </p:nvSpPr>
        <p:spPr bwMode="auto">
          <a:xfrm rot="15300000">
            <a:off x="5014553" y="2792306"/>
            <a:ext cx="155096" cy="530061"/>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97" name="Group 996"/>
          <p:cNvGrpSpPr/>
          <p:nvPr/>
        </p:nvGrpSpPr>
        <p:grpSpPr>
          <a:xfrm>
            <a:off x="5574375" y="3404761"/>
            <a:ext cx="372691" cy="372692"/>
            <a:chOff x="5411363" y="1755522"/>
            <a:chExt cx="316187" cy="316187"/>
          </a:xfrm>
        </p:grpSpPr>
        <p:sp>
          <p:nvSpPr>
            <p:cNvPr id="998" name="Oval 997"/>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999" name="Oval 998"/>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0" name="Oval 999"/>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01" name="Group 1000"/>
          <p:cNvGrpSpPr/>
          <p:nvPr/>
        </p:nvGrpSpPr>
        <p:grpSpPr>
          <a:xfrm flipH="1">
            <a:off x="5291766" y="2832943"/>
            <a:ext cx="270920" cy="270920"/>
            <a:chOff x="4394973" y="1762558"/>
            <a:chExt cx="352210" cy="352210"/>
          </a:xfrm>
        </p:grpSpPr>
        <p:grpSp>
          <p:nvGrpSpPr>
            <p:cNvPr id="1002" name="Group 1001"/>
            <p:cNvGrpSpPr/>
            <p:nvPr/>
          </p:nvGrpSpPr>
          <p:grpSpPr>
            <a:xfrm flipH="1">
              <a:off x="4394973" y="1762558"/>
              <a:ext cx="352210" cy="352210"/>
              <a:chOff x="5411363" y="1755522"/>
              <a:chExt cx="316187" cy="316187"/>
            </a:xfrm>
          </p:grpSpPr>
          <p:sp>
            <p:nvSpPr>
              <p:cNvPr id="1005" name="Oval 1004"/>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6" name="Oval 1005"/>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7" name="Oval 1006"/>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03" name="Rectangle 1002"/>
            <p:cNvSpPr/>
            <p:nvPr/>
          </p:nvSpPr>
          <p:spPr bwMode="auto">
            <a:xfrm flipH="1">
              <a:off x="4553231" y="1789294"/>
              <a:ext cx="35695" cy="28644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4" name="Rectangle 1003"/>
            <p:cNvSpPr/>
            <p:nvPr/>
          </p:nvSpPr>
          <p:spPr bwMode="auto">
            <a:xfrm rot="5400000" flipH="1">
              <a:off x="4556016" y="1795437"/>
              <a:ext cx="35695" cy="28644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08" name="Rectangle 1007"/>
          <p:cNvSpPr/>
          <p:nvPr/>
        </p:nvSpPr>
        <p:spPr bwMode="auto">
          <a:xfrm rot="11618614">
            <a:off x="4712541" y="3222410"/>
            <a:ext cx="102341" cy="183889"/>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9" name="Oval 1008"/>
          <p:cNvSpPr/>
          <p:nvPr/>
        </p:nvSpPr>
        <p:spPr bwMode="auto">
          <a:xfrm rot="11681175">
            <a:off x="4674364" y="3364053"/>
            <a:ext cx="117398" cy="1173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10" name="Group 1009"/>
          <p:cNvGrpSpPr/>
          <p:nvPr/>
        </p:nvGrpSpPr>
        <p:grpSpPr>
          <a:xfrm rot="818614" flipH="1">
            <a:off x="4741615" y="3440684"/>
            <a:ext cx="104940" cy="288700"/>
            <a:chOff x="5430362" y="1772113"/>
            <a:chExt cx="99173" cy="272835"/>
          </a:xfrm>
          <a:solidFill>
            <a:schemeClr val="accent5"/>
          </a:solidFill>
        </p:grpSpPr>
        <p:sp>
          <p:nvSpPr>
            <p:cNvPr id="1011" name="Rectangle 1010"/>
            <p:cNvSpPr/>
            <p:nvPr/>
          </p:nvSpPr>
          <p:spPr bwMode="auto">
            <a:xfrm rot="13260000" flipH="1">
              <a:off x="5468027" y="1772113"/>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2" name="Diagonal Stripe 1011"/>
            <p:cNvSpPr/>
            <p:nvPr/>
          </p:nvSpPr>
          <p:spPr bwMode="auto">
            <a:xfrm rot="19432650">
              <a:off x="5430362" y="1862068"/>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13" name="Group 1012"/>
          <p:cNvGrpSpPr>
            <a:grpSpLocks noChangeAspect="1"/>
          </p:cNvGrpSpPr>
          <p:nvPr/>
        </p:nvGrpSpPr>
        <p:grpSpPr>
          <a:xfrm>
            <a:off x="4977716" y="3402048"/>
            <a:ext cx="204402" cy="523112"/>
            <a:chOff x="-3051175" y="-1057275"/>
            <a:chExt cx="2679700" cy="6858000"/>
          </a:xfrm>
        </p:grpSpPr>
        <p:sp>
          <p:nvSpPr>
            <p:cNvPr id="1014" name="Freeform 19"/>
            <p:cNvSpPr>
              <a:spLocks/>
            </p:cNvSpPr>
            <p:nvPr/>
          </p:nvSpPr>
          <p:spPr bwMode="auto">
            <a:xfrm>
              <a:off x="-2246313" y="-1057275"/>
              <a:ext cx="1114425" cy="1108075"/>
            </a:xfrm>
            <a:custGeom>
              <a:avLst/>
              <a:gdLst>
                <a:gd name="T0" fmla="*/ 261 w 702"/>
                <a:gd name="T1" fmla="*/ 13 h 698"/>
                <a:gd name="T2" fmla="*/ 307 w 702"/>
                <a:gd name="T3" fmla="*/ 2 h 698"/>
                <a:gd name="T4" fmla="*/ 354 w 702"/>
                <a:gd name="T5" fmla="*/ 0 h 698"/>
                <a:gd name="T6" fmla="*/ 402 w 702"/>
                <a:gd name="T7" fmla="*/ 4 h 698"/>
                <a:gd name="T8" fmla="*/ 448 w 702"/>
                <a:gd name="T9" fmla="*/ 17 h 698"/>
                <a:gd name="T10" fmla="*/ 490 w 702"/>
                <a:gd name="T11" fmla="*/ 33 h 698"/>
                <a:gd name="T12" fmla="*/ 533 w 702"/>
                <a:gd name="T13" fmla="*/ 57 h 698"/>
                <a:gd name="T14" fmla="*/ 571 w 702"/>
                <a:gd name="T15" fmla="*/ 86 h 698"/>
                <a:gd name="T16" fmla="*/ 606 w 702"/>
                <a:gd name="T17" fmla="*/ 119 h 698"/>
                <a:gd name="T18" fmla="*/ 635 w 702"/>
                <a:gd name="T19" fmla="*/ 156 h 698"/>
                <a:gd name="T20" fmla="*/ 661 w 702"/>
                <a:gd name="T21" fmla="*/ 196 h 698"/>
                <a:gd name="T22" fmla="*/ 681 w 702"/>
                <a:gd name="T23" fmla="*/ 239 h 698"/>
                <a:gd name="T24" fmla="*/ 694 w 702"/>
                <a:gd name="T25" fmla="*/ 283 h 698"/>
                <a:gd name="T26" fmla="*/ 702 w 702"/>
                <a:gd name="T27" fmla="*/ 329 h 698"/>
                <a:gd name="T28" fmla="*/ 702 w 702"/>
                <a:gd name="T29" fmla="*/ 375 h 698"/>
                <a:gd name="T30" fmla="*/ 692 w 702"/>
                <a:gd name="T31" fmla="*/ 422 h 698"/>
                <a:gd name="T32" fmla="*/ 676 w 702"/>
                <a:gd name="T33" fmla="*/ 468 h 698"/>
                <a:gd name="T34" fmla="*/ 669 w 702"/>
                <a:gd name="T35" fmla="*/ 490 h 698"/>
                <a:gd name="T36" fmla="*/ 648 w 702"/>
                <a:gd name="T37" fmla="*/ 532 h 698"/>
                <a:gd name="T38" fmla="*/ 623 w 702"/>
                <a:gd name="T39" fmla="*/ 571 h 698"/>
                <a:gd name="T40" fmla="*/ 591 w 702"/>
                <a:gd name="T41" fmla="*/ 604 h 698"/>
                <a:gd name="T42" fmla="*/ 556 w 702"/>
                <a:gd name="T43" fmla="*/ 632 h 698"/>
                <a:gd name="T44" fmla="*/ 518 w 702"/>
                <a:gd name="T45" fmla="*/ 655 h 698"/>
                <a:gd name="T46" fmla="*/ 476 w 702"/>
                <a:gd name="T47" fmla="*/ 674 h 698"/>
                <a:gd name="T48" fmla="*/ 433 w 702"/>
                <a:gd name="T49" fmla="*/ 687 h 698"/>
                <a:gd name="T50" fmla="*/ 388 w 702"/>
                <a:gd name="T51" fmla="*/ 694 h 698"/>
                <a:gd name="T52" fmla="*/ 342 w 702"/>
                <a:gd name="T53" fmla="*/ 698 h 698"/>
                <a:gd name="T54" fmla="*/ 298 w 702"/>
                <a:gd name="T55" fmla="*/ 694 h 698"/>
                <a:gd name="T56" fmla="*/ 253 w 702"/>
                <a:gd name="T57" fmla="*/ 687 h 698"/>
                <a:gd name="T58" fmla="*/ 209 w 702"/>
                <a:gd name="T59" fmla="*/ 672 h 698"/>
                <a:gd name="T60" fmla="*/ 169 w 702"/>
                <a:gd name="T61" fmla="*/ 652 h 698"/>
                <a:gd name="T62" fmla="*/ 132 w 702"/>
                <a:gd name="T63" fmla="*/ 626 h 698"/>
                <a:gd name="T64" fmla="*/ 99 w 702"/>
                <a:gd name="T65" fmla="*/ 595 h 698"/>
                <a:gd name="T66" fmla="*/ 84 w 702"/>
                <a:gd name="T67" fmla="*/ 576 h 698"/>
                <a:gd name="T68" fmla="*/ 55 w 702"/>
                <a:gd name="T69" fmla="*/ 542 h 698"/>
                <a:gd name="T70" fmla="*/ 33 w 702"/>
                <a:gd name="T71" fmla="*/ 503 h 698"/>
                <a:gd name="T72" fmla="*/ 16 w 702"/>
                <a:gd name="T73" fmla="*/ 461 h 698"/>
                <a:gd name="T74" fmla="*/ 5 w 702"/>
                <a:gd name="T75" fmla="*/ 419 h 698"/>
                <a:gd name="T76" fmla="*/ 0 w 702"/>
                <a:gd name="T77" fmla="*/ 376 h 698"/>
                <a:gd name="T78" fmla="*/ 2 w 702"/>
                <a:gd name="T79" fmla="*/ 332 h 698"/>
                <a:gd name="T80" fmla="*/ 7 w 702"/>
                <a:gd name="T81" fmla="*/ 288 h 698"/>
                <a:gd name="T82" fmla="*/ 18 w 702"/>
                <a:gd name="T83" fmla="*/ 246 h 698"/>
                <a:gd name="T84" fmla="*/ 33 w 702"/>
                <a:gd name="T85" fmla="*/ 204 h 698"/>
                <a:gd name="T86" fmla="*/ 53 w 702"/>
                <a:gd name="T87" fmla="*/ 165 h 698"/>
                <a:gd name="T88" fmla="*/ 77 w 702"/>
                <a:gd name="T89" fmla="*/ 129 h 698"/>
                <a:gd name="T90" fmla="*/ 106 w 702"/>
                <a:gd name="T91" fmla="*/ 95 h 698"/>
                <a:gd name="T92" fmla="*/ 140 w 702"/>
                <a:gd name="T93" fmla="*/ 68 h 698"/>
                <a:gd name="T94" fmla="*/ 176 w 702"/>
                <a:gd name="T95" fmla="*/ 44 h 698"/>
                <a:gd name="T96" fmla="*/ 217 w 702"/>
                <a:gd name="T97" fmla="*/ 26 h 698"/>
                <a:gd name="T98" fmla="*/ 261 w 702"/>
                <a:gd name="T99" fmla="*/ 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2" h="698">
                  <a:moveTo>
                    <a:pt x="261" y="13"/>
                  </a:moveTo>
                  <a:lnTo>
                    <a:pt x="261" y="13"/>
                  </a:lnTo>
                  <a:lnTo>
                    <a:pt x="285" y="7"/>
                  </a:lnTo>
                  <a:lnTo>
                    <a:pt x="307" y="2"/>
                  </a:lnTo>
                  <a:lnTo>
                    <a:pt x="331" y="0"/>
                  </a:lnTo>
                  <a:lnTo>
                    <a:pt x="354" y="0"/>
                  </a:lnTo>
                  <a:lnTo>
                    <a:pt x="378" y="2"/>
                  </a:lnTo>
                  <a:lnTo>
                    <a:pt x="402" y="4"/>
                  </a:lnTo>
                  <a:lnTo>
                    <a:pt x="424" y="9"/>
                  </a:lnTo>
                  <a:lnTo>
                    <a:pt x="448" y="17"/>
                  </a:lnTo>
                  <a:lnTo>
                    <a:pt x="470" y="24"/>
                  </a:lnTo>
                  <a:lnTo>
                    <a:pt x="490" y="33"/>
                  </a:lnTo>
                  <a:lnTo>
                    <a:pt x="512" y="46"/>
                  </a:lnTo>
                  <a:lnTo>
                    <a:pt x="533" y="57"/>
                  </a:lnTo>
                  <a:lnTo>
                    <a:pt x="553" y="72"/>
                  </a:lnTo>
                  <a:lnTo>
                    <a:pt x="571" y="86"/>
                  </a:lnTo>
                  <a:lnTo>
                    <a:pt x="588" y="103"/>
                  </a:lnTo>
                  <a:lnTo>
                    <a:pt x="606" y="119"/>
                  </a:lnTo>
                  <a:lnTo>
                    <a:pt x="621" y="138"/>
                  </a:lnTo>
                  <a:lnTo>
                    <a:pt x="635" y="156"/>
                  </a:lnTo>
                  <a:lnTo>
                    <a:pt x="648" y="174"/>
                  </a:lnTo>
                  <a:lnTo>
                    <a:pt x="661" y="196"/>
                  </a:lnTo>
                  <a:lnTo>
                    <a:pt x="672" y="217"/>
                  </a:lnTo>
                  <a:lnTo>
                    <a:pt x="681" y="239"/>
                  </a:lnTo>
                  <a:lnTo>
                    <a:pt x="689" y="261"/>
                  </a:lnTo>
                  <a:lnTo>
                    <a:pt x="694" y="283"/>
                  </a:lnTo>
                  <a:lnTo>
                    <a:pt x="700" y="305"/>
                  </a:lnTo>
                  <a:lnTo>
                    <a:pt x="702" y="329"/>
                  </a:lnTo>
                  <a:lnTo>
                    <a:pt x="702" y="353"/>
                  </a:lnTo>
                  <a:lnTo>
                    <a:pt x="702" y="375"/>
                  </a:lnTo>
                  <a:lnTo>
                    <a:pt x="698" y="398"/>
                  </a:lnTo>
                  <a:lnTo>
                    <a:pt x="692" y="422"/>
                  </a:lnTo>
                  <a:lnTo>
                    <a:pt x="685" y="446"/>
                  </a:lnTo>
                  <a:lnTo>
                    <a:pt x="676" y="468"/>
                  </a:lnTo>
                  <a:lnTo>
                    <a:pt x="676" y="468"/>
                  </a:lnTo>
                  <a:lnTo>
                    <a:pt x="669" y="490"/>
                  </a:lnTo>
                  <a:lnTo>
                    <a:pt x="659" y="512"/>
                  </a:lnTo>
                  <a:lnTo>
                    <a:pt x="648" y="532"/>
                  </a:lnTo>
                  <a:lnTo>
                    <a:pt x="635" y="553"/>
                  </a:lnTo>
                  <a:lnTo>
                    <a:pt x="623" y="571"/>
                  </a:lnTo>
                  <a:lnTo>
                    <a:pt x="608" y="588"/>
                  </a:lnTo>
                  <a:lnTo>
                    <a:pt x="591" y="604"/>
                  </a:lnTo>
                  <a:lnTo>
                    <a:pt x="575" y="619"/>
                  </a:lnTo>
                  <a:lnTo>
                    <a:pt x="556" y="632"/>
                  </a:lnTo>
                  <a:lnTo>
                    <a:pt x="538" y="644"/>
                  </a:lnTo>
                  <a:lnTo>
                    <a:pt x="518" y="655"/>
                  </a:lnTo>
                  <a:lnTo>
                    <a:pt x="498" y="665"/>
                  </a:lnTo>
                  <a:lnTo>
                    <a:pt x="476" y="674"/>
                  </a:lnTo>
                  <a:lnTo>
                    <a:pt x="455" y="681"/>
                  </a:lnTo>
                  <a:lnTo>
                    <a:pt x="433" y="687"/>
                  </a:lnTo>
                  <a:lnTo>
                    <a:pt x="410" y="690"/>
                  </a:lnTo>
                  <a:lnTo>
                    <a:pt x="388" y="694"/>
                  </a:lnTo>
                  <a:lnTo>
                    <a:pt x="365" y="696"/>
                  </a:lnTo>
                  <a:lnTo>
                    <a:pt x="342" y="698"/>
                  </a:lnTo>
                  <a:lnTo>
                    <a:pt x="320" y="696"/>
                  </a:lnTo>
                  <a:lnTo>
                    <a:pt x="298" y="694"/>
                  </a:lnTo>
                  <a:lnTo>
                    <a:pt x="275" y="690"/>
                  </a:lnTo>
                  <a:lnTo>
                    <a:pt x="253" y="687"/>
                  </a:lnTo>
                  <a:lnTo>
                    <a:pt x="231" y="679"/>
                  </a:lnTo>
                  <a:lnTo>
                    <a:pt x="209" y="672"/>
                  </a:lnTo>
                  <a:lnTo>
                    <a:pt x="189" y="663"/>
                  </a:lnTo>
                  <a:lnTo>
                    <a:pt x="169" y="652"/>
                  </a:lnTo>
                  <a:lnTo>
                    <a:pt x="151" y="641"/>
                  </a:lnTo>
                  <a:lnTo>
                    <a:pt x="132" y="626"/>
                  </a:lnTo>
                  <a:lnTo>
                    <a:pt x="116" y="611"/>
                  </a:lnTo>
                  <a:lnTo>
                    <a:pt x="99" y="595"/>
                  </a:lnTo>
                  <a:lnTo>
                    <a:pt x="84" y="576"/>
                  </a:lnTo>
                  <a:lnTo>
                    <a:pt x="84" y="576"/>
                  </a:lnTo>
                  <a:lnTo>
                    <a:pt x="70" y="558"/>
                  </a:lnTo>
                  <a:lnTo>
                    <a:pt x="55" y="542"/>
                  </a:lnTo>
                  <a:lnTo>
                    <a:pt x="44" y="521"/>
                  </a:lnTo>
                  <a:lnTo>
                    <a:pt x="33" y="503"/>
                  </a:lnTo>
                  <a:lnTo>
                    <a:pt x="24" y="483"/>
                  </a:lnTo>
                  <a:lnTo>
                    <a:pt x="16" y="461"/>
                  </a:lnTo>
                  <a:lnTo>
                    <a:pt x="11" y="441"/>
                  </a:lnTo>
                  <a:lnTo>
                    <a:pt x="5" y="419"/>
                  </a:lnTo>
                  <a:lnTo>
                    <a:pt x="2" y="398"/>
                  </a:lnTo>
                  <a:lnTo>
                    <a:pt x="0" y="376"/>
                  </a:lnTo>
                  <a:lnTo>
                    <a:pt x="0" y="354"/>
                  </a:lnTo>
                  <a:lnTo>
                    <a:pt x="2" y="332"/>
                  </a:lnTo>
                  <a:lnTo>
                    <a:pt x="4" y="310"/>
                  </a:lnTo>
                  <a:lnTo>
                    <a:pt x="7" y="288"/>
                  </a:lnTo>
                  <a:lnTo>
                    <a:pt x="11" y="266"/>
                  </a:lnTo>
                  <a:lnTo>
                    <a:pt x="18" y="246"/>
                  </a:lnTo>
                  <a:lnTo>
                    <a:pt x="24" y="224"/>
                  </a:lnTo>
                  <a:lnTo>
                    <a:pt x="33" y="204"/>
                  </a:lnTo>
                  <a:lnTo>
                    <a:pt x="42" y="184"/>
                  </a:lnTo>
                  <a:lnTo>
                    <a:pt x="53" y="165"/>
                  </a:lnTo>
                  <a:lnTo>
                    <a:pt x="64" y="147"/>
                  </a:lnTo>
                  <a:lnTo>
                    <a:pt x="77" y="129"/>
                  </a:lnTo>
                  <a:lnTo>
                    <a:pt x="92" y="112"/>
                  </a:lnTo>
                  <a:lnTo>
                    <a:pt x="106" y="95"/>
                  </a:lnTo>
                  <a:lnTo>
                    <a:pt x="123" y="81"/>
                  </a:lnTo>
                  <a:lnTo>
                    <a:pt x="140" y="68"/>
                  </a:lnTo>
                  <a:lnTo>
                    <a:pt x="158" y="55"/>
                  </a:lnTo>
                  <a:lnTo>
                    <a:pt x="176" y="44"/>
                  </a:lnTo>
                  <a:lnTo>
                    <a:pt x="196" y="33"/>
                  </a:lnTo>
                  <a:lnTo>
                    <a:pt x="217" y="26"/>
                  </a:lnTo>
                  <a:lnTo>
                    <a:pt x="239" y="18"/>
                  </a:lnTo>
                  <a:lnTo>
                    <a:pt x="261" y="13"/>
                  </a:lnTo>
                  <a:lnTo>
                    <a:pt x="261"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5" name="Freeform 20"/>
            <p:cNvSpPr>
              <a:spLocks/>
            </p:cNvSpPr>
            <p:nvPr/>
          </p:nvSpPr>
          <p:spPr bwMode="auto">
            <a:xfrm>
              <a:off x="-3051175" y="158750"/>
              <a:ext cx="2679700" cy="5641975"/>
            </a:xfrm>
            <a:custGeom>
              <a:avLst/>
              <a:gdLst>
                <a:gd name="T0" fmla="*/ 301 w 1688"/>
                <a:gd name="T1" fmla="*/ 31 h 3554"/>
                <a:gd name="T2" fmla="*/ 479 w 1688"/>
                <a:gd name="T3" fmla="*/ 3 h 3554"/>
                <a:gd name="T4" fmla="*/ 753 w 1688"/>
                <a:gd name="T5" fmla="*/ 3 h 3554"/>
                <a:gd name="T6" fmla="*/ 1014 w 1688"/>
                <a:gd name="T7" fmla="*/ 1 h 3554"/>
                <a:gd name="T8" fmla="*/ 1256 w 1688"/>
                <a:gd name="T9" fmla="*/ 7 h 3554"/>
                <a:gd name="T10" fmla="*/ 1412 w 1688"/>
                <a:gd name="T11" fmla="*/ 40 h 3554"/>
                <a:gd name="T12" fmla="*/ 1552 w 1688"/>
                <a:gd name="T13" fmla="*/ 119 h 3554"/>
                <a:gd name="T14" fmla="*/ 1613 w 1688"/>
                <a:gd name="T15" fmla="*/ 183 h 3554"/>
                <a:gd name="T16" fmla="*/ 1660 w 1688"/>
                <a:gd name="T17" fmla="*/ 288 h 3554"/>
                <a:gd name="T18" fmla="*/ 1684 w 1688"/>
                <a:gd name="T19" fmla="*/ 435 h 3554"/>
                <a:gd name="T20" fmla="*/ 1688 w 1688"/>
                <a:gd name="T21" fmla="*/ 802 h 3554"/>
                <a:gd name="T22" fmla="*/ 1688 w 1688"/>
                <a:gd name="T23" fmla="*/ 1549 h 3554"/>
                <a:gd name="T24" fmla="*/ 1670 w 1688"/>
                <a:gd name="T25" fmla="*/ 1657 h 3554"/>
                <a:gd name="T26" fmla="*/ 1637 w 1688"/>
                <a:gd name="T27" fmla="*/ 1709 h 3554"/>
                <a:gd name="T28" fmla="*/ 1583 w 1688"/>
                <a:gd name="T29" fmla="*/ 1735 h 3554"/>
                <a:gd name="T30" fmla="*/ 1528 w 1688"/>
                <a:gd name="T31" fmla="*/ 1740 h 3554"/>
                <a:gd name="T32" fmla="*/ 1462 w 1688"/>
                <a:gd name="T33" fmla="*/ 1714 h 3554"/>
                <a:gd name="T34" fmla="*/ 1416 w 1688"/>
                <a:gd name="T35" fmla="*/ 1657 h 3554"/>
                <a:gd name="T36" fmla="*/ 1392 w 1688"/>
                <a:gd name="T37" fmla="*/ 1586 h 3554"/>
                <a:gd name="T38" fmla="*/ 1389 w 1688"/>
                <a:gd name="T39" fmla="*/ 1064 h 3554"/>
                <a:gd name="T40" fmla="*/ 1280 w 1688"/>
                <a:gd name="T41" fmla="*/ 583 h 3554"/>
                <a:gd name="T42" fmla="*/ 1277 w 1688"/>
                <a:gd name="T43" fmla="*/ 3359 h 3554"/>
                <a:gd name="T44" fmla="*/ 1273 w 1688"/>
                <a:gd name="T45" fmla="*/ 3416 h 3554"/>
                <a:gd name="T46" fmla="*/ 1242 w 1688"/>
                <a:gd name="T47" fmla="*/ 3479 h 3554"/>
                <a:gd name="T48" fmla="*/ 1187 w 1688"/>
                <a:gd name="T49" fmla="*/ 3523 h 3554"/>
                <a:gd name="T50" fmla="*/ 1119 w 1688"/>
                <a:gd name="T51" fmla="*/ 3547 h 3554"/>
                <a:gd name="T52" fmla="*/ 1047 w 1688"/>
                <a:gd name="T53" fmla="*/ 3550 h 3554"/>
                <a:gd name="T54" fmla="*/ 979 w 1688"/>
                <a:gd name="T55" fmla="*/ 3532 h 3554"/>
                <a:gd name="T56" fmla="*/ 926 w 1688"/>
                <a:gd name="T57" fmla="*/ 3490 h 3554"/>
                <a:gd name="T58" fmla="*/ 895 w 1688"/>
                <a:gd name="T59" fmla="*/ 3424 h 3554"/>
                <a:gd name="T60" fmla="*/ 889 w 1688"/>
                <a:gd name="T61" fmla="*/ 2985 h 3554"/>
                <a:gd name="T62" fmla="*/ 889 w 1688"/>
                <a:gd name="T63" fmla="*/ 1735 h 3554"/>
                <a:gd name="T64" fmla="*/ 799 w 1688"/>
                <a:gd name="T65" fmla="*/ 2825 h 3554"/>
                <a:gd name="T66" fmla="*/ 797 w 1688"/>
                <a:gd name="T67" fmla="*/ 3268 h 3554"/>
                <a:gd name="T68" fmla="*/ 775 w 1688"/>
                <a:gd name="T69" fmla="*/ 3425 h 3554"/>
                <a:gd name="T70" fmla="*/ 726 w 1688"/>
                <a:gd name="T71" fmla="*/ 3519 h 3554"/>
                <a:gd name="T72" fmla="*/ 610 w 1688"/>
                <a:gd name="T73" fmla="*/ 3554 h 3554"/>
                <a:gd name="T74" fmla="*/ 494 w 1688"/>
                <a:gd name="T75" fmla="*/ 3532 h 3554"/>
                <a:gd name="T76" fmla="*/ 437 w 1688"/>
                <a:gd name="T77" fmla="*/ 3490 h 3554"/>
                <a:gd name="T78" fmla="*/ 406 w 1688"/>
                <a:gd name="T79" fmla="*/ 3442 h 3554"/>
                <a:gd name="T80" fmla="*/ 393 w 1688"/>
                <a:gd name="T81" fmla="*/ 3381 h 3554"/>
                <a:gd name="T82" fmla="*/ 389 w 1688"/>
                <a:gd name="T83" fmla="*/ 2669 h 3554"/>
                <a:gd name="T84" fmla="*/ 388 w 1688"/>
                <a:gd name="T85" fmla="*/ 587 h 3554"/>
                <a:gd name="T86" fmla="*/ 299 w 1688"/>
                <a:gd name="T87" fmla="*/ 817 h 3554"/>
                <a:gd name="T88" fmla="*/ 299 w 1688"/>
                <a:gd name="T89" fmla="*/ 1507 h 3554"/>
                <a:gd name="T90" fmla="*/ 288 w 1688"/>
                <a:gd name="T91" fmla="*/ 1590 h 3554"/>
                <a:gd name="T92" fmla="*/ 257 w 1688"/>
                <a:gd name="T93" fmla="*/ 1670 h 3554"/>
                <a:gd name="T94" fmla="*/ 202 w 1688"/>
                <a:gd name="T95" fmla="*/ 1727 h 3554"/>
                <a:gd name="T96" fmla="*/ 119 w 1688"/>
                <a:gd name="T97" fmla="*/ 1736 h 3554"/>
                <a:gd name="T98" fmla="*/ 81 w 1688"/>
                <a:gd name="T99" fmla="*/ 1731 h 3554"/>
                <a:gd name="T100" fmla="*/ 39 w 1688"/>
                <a:gd name="T101" fmla="*/ 1700 h 3554"/>
                <a:gd name="T102" fmla="*/ 11 w 1688"/>
                <a:gd name="T103" fmla="*/ 1654 h 3554"/>
                <a:gd name="T104" fmla="*/ 2 w 1688"/>
                <a:gd name="T105" fmla="*/ 1601 h 3554"/>
                <a:gd name="T106" fmla="*/ 0 w 1688"/>
                <a:gd name="T107" fmla="*/ 1004 h 3554"/>
                <a:gd name="T108" fmla="*/ 4 w 1688"/>
                <a:gd name="T109" fmla="*/ 365 h 3554"/>
                <a:gd name="T110" fmla="*/ 28 w 1688"/>
                <a:gd name="T111" fmla="*/ 257 h 3554"/>
                <a:gd name="T112" fmla="*/ 83 w 1688"/>
                <a:gd name="T113" fmla="*/ 159 h 3554"/>
                <a:gd name="T114" fmla="*/ 163 w 1688"/>
                <a:gd name="T115" fmla="*/ 84 h 3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8" h="3554">
                  <a:moveTo>
                    <a:pt x="213" y="58"/>
                  </a:moveTo>
                  <a:lnTo>
                    <a:pt x="213" y="58"/>
                  </a:lnTo>
                  <a:lnTo>
                    <a:pt x="257" y="44"/>
                  </a:lnTo>
                  <a:lnTo>
                    <a:pt x="301" y="31"/>
                  </a:lnTo>
                  <a:lnTo>
                    <a:pt x="345" y="22"/>
                  </a:lnTo>
                  <a:lnTo>
                    <a:pt x="389" y="14"/>
                  </a:lnTo>
                  <a:lnTo>
                    <a:pt x="433" y="7"/>
                  </a:lnTo>
                  <a:lnTo>
                    <a:pt x="479" y="3"/>
                  </a:lnTo>
                  <a:lnTo>
                    <a:pt x="523" y="1"/>
                  </a:lnTo>
                  <a:lnTo>
                    <a:pt x="569" y="0"/>
                  </a:lnTo>
                  <a:lnTo>
                    <a:pt x="661" y="1"/>
                  </a:lnTo>
                  <a:lnTo>
                    <a:pt x="753" y="3"/>
                  </a:lnTo>
                  <a:lnTo>
                    <a:pt x="843" y="3"/>
                  </a:lnTo>
                  <a:lnTo>
                    <a:pt x="935" y="1"/>
                  </a:lnTo>
                  <a:lnTo>
                    <a:pt x="935" y="1"/>
                  </a:lnTo>
                  <a:lnTo>
                    <a:pt x="1014" y="1"/>
                  </a:lnTo>
                  <a:lnTo>
                    <a:pt x="1095" y="1"/>
                  </a:lnTo>
                  <a:lnTo>
                    <a:pt x="1176" y="3"/>
                  </a:lnTo>
                  <a:lnTo>
                    <a:pt x="1216" y="5"/>
                  </a:lnTo>
                  <a:lnTo>
                    <a:pt x="1256" y="7"/>
                  </a:lnTo>
                  <a:lnTo>
                    <a:pt x="1297" y="12"/>
                  </a:lnTo>
                  <a:lnTo>
                    <a:pt x="1335" y="20"/>
                  </a:lnTo>
                  <a:lnTo>
                    <a:pt x="1374" y="29"/>
                  </a:lnTo>
                  <a:lnTo>
                    <a:pt x="1412" y="40"/>
                  </a:lnTo>
                  <a:lnTo>
                    <a:pt x="1449" y="55"/>
                  </a:lnTo>
                  <a:lnTo>
                    <a:pt x="1484" y="71"/>
                  </a:lnTo>
                  <a:lnTo>
                    <a:pt x="1519" y="93"/>
                  </a:lnTo>
                  <a:lnTo>
                    <a:pt x="1552" y="119"/>
                  </a:lnTo>
                  <a:lnTo>
                    <a:pt x="1552" y="119"/>
                  </a:lnTo>
                  <a:lnTo>
                    <a:pt x="1574" y="139"/>
                  </a:lnTo>
                  <a:lnTo>
                    <a:pt x="1594" y="159"/>
                  </a:lnTo>
                  <a:lnTo>
                    <a:pt x="1613" y="183"/>
                  </a:lnTo>
                  <a:lnTo>
                    <a:pt x="1627" y="207"/>
                  </a:lnTo>
                  <a:lnTo>
                    <a:pt x="1640" y="235"/>
                  </a:lnTo>
                  <a:lnTo>
                    <a:pt x="1651" y="260"/>
                  </a:lnTo>
                  <a:lnTo>
                    <a:pt x="1660" y="288"/>
                  </a:lnTo>
                  <a:lnTo>
                    <a:pt x="1668" y="317"/>
                  </a:lnTo>
                  <a:lnTo>
                    <a:pt x="1673" y="347"/>
                  </a:lnTo>
                  <a:lnTo>
                    <a:pt x="1679" y="376"/>
                  </a:lnTo>
                  <a:lnTo>
                    <a:pt x="1684" y="435"/>
                  </a:lnTo>
                  <a:lnTo>
                    <a:pt x="1688" y="493"/>
                  </a:lnTo>
                  <a:lnTo>
                    <a:pt x="1688" y="552"/>
                  </a:lnTo>
                  <a:lnTo>
                    <a:pt x="1688" y="552"/>
                  </a:lnTo>
                  <a:lnTo>
                    <a:pt x="1688" y="802"/>
                  </a:lnTo>
                  <a:lnTo>
                    <a:pt x="1688" y="1052"/>
                  </a:lnTo>
                  <a:lnTo>
                    <a:pt x="1688" y="1299"/>
                  </a:lnTo>
                  <a:lnTo>
                    <a:pt x="1688" y="1549"/>
                  </a:lnTo>
                  <a:lnTo>
                    <a:pt x="1688" y="1549"/>
                  </a:lnTo>
                  <a:lnTo>
                    <a:pt x="1686" y="1579"/>
                  </a:lnTo>
                  <a:lnTo>
                    <a:pt x="1682" y="1612"/>
                  </a:lnTo>
                  <a:lnTo>
                    <a:pt x="1675" y="1643"/>
                  </a:lnTo>
                  <a:lnTo>
                    <a:pt x="1670" y="1657"/>
                  </a:lnTo>
                  <a:lnTo>
                    <a:pt x="1662" y="1672"/>
                  </a:lnTo>
                  <a:lnTo>
                    <a:pt x="1655" y="1685"/>
                  </a:lnTo>
                  <a:lnTo>
                    <a:pt x="1648" y="1698"/>
                  </a:lnTo>
                  <a:lnTo>
                    <a:pt x="1637" y="1709"/>
                  </a:lnTo>
                  <a:lnTo>
                    <a:pt x="1626" y="1718"/>
                  </a:lnTo>
                  <a:lnTo>
                    <a:pt x="1613" y="1727"/>
                  </a:lnTo>
                  <a:lnTo>
                    <a:pt x="1600" y="1733"/>
                  </a:lnTo>
                  <a:lnTo>
                    <a:pt x="1583" y="1735"/>
                  </a:lnTo>
                  <a:lnTo>
                    <a:pt x="1567" y="1736"/>
                  </a:lnTo>
                  <a:lnTo>
                    <a:pt x="1567" y="1736"/>
                  </a:lnTo>
                  <a:lnTo>
                    <a:pt x="1547" y="1740"/>
                  </a:lnTo>
                  <a:lnTo>
                    <a:pt x="1528" y="1740"/>
                  </a:lnTo>
                  <a:lnTo>
                    <a:pt x="1510" y="1736"/>
                  </a:lnTo>
                  <a:lnTo>
                    <a:pt x="1493" y="1731"/>
                  </a:lnTo>
                  <a:lnTo>
                    <a:pt x="1477" y="1724"/>
                  </a:lnTo>
                  <a:lnTo>
                    <a:pt x="1462" y="1714"/>
                  </a:lnTo>
                  <a:lnTo>
                    <a:pt x="1449" y="1702"/>
                  </a:lnTo>
                  <a:lnTo>
                    <a:pt x="1436" y="1689"/>
                  </a:lnTo>
                  <a:lnTo>
                    <a:pt x="1425" y="1674"/>
                  </a:lnTo>
                  <a:lnTo>
                    <a:pt x="1416" y="1657"/>
                  </a:lnTo>
                  <a:lnTo>
                    <a:pt x="1407" y="1641"/>
                  </a:lnTo>
                  <a:lnTo>
                    <a:pt x="1400" y="1623"/>
                  </a:lnTo>
                  <a:lnTo>
                    <a:pt x="1394" y="1604"/>
                  </a:lnTo>
                  <a:lnTo>
                    <a:pt x="1392" y="1586"/>
                  </a:lnTo>
                  <a:lnTo>
                    <a:pt x="1389" y="1567"/>
                  </a:lnTo>
                  <a:lnTo>
                    <a:pt x="1389" y="1549"/>
                  </a:lnTo>
                  <a:lnTo>
                    <a:pt x="1389" y="1549"/>
                  </a:lnTo>
                  <a:lnTo>
                    <a:pt x="1389" y="1064"/>
                  </a:lnTo>
                  <a:lnTo>
                    <a:pt x="1389" y="582"/>
                  </a:lnTo>
                  <a:lnTo>
                    <a:pt x="1389" y="582"/>
                  </a:lnTo>
                  <a:lnTo>
                    <a:pt x="1280" y="583"/>
                  </a:lnTo>
                  <a:lnTo>
                    <a:pt x="1280" y="583"/>
                  </a:lnTo>
                  <a:lnTo>
                    <a:pt x="1278" y="1277"/>
                  </a:lnTo>
                  <a:lnTo>
                    <a:pt x="1278" y="1971"/>
                  </a:lnTo>
                  <a:lnTo>
                    <a:pt x="1278" y="2665"/>
                  </a:lnTo>
                  <a:lnTo>
                    <a:pt x="1277" y="3359"/>
                  </a:lnTo>
                  <a:lnTo>
                    <a:pt x="1277" y="3359"/>
                  </a:lnTo>
                  <a:lnTo>
                    <a:pt x="1278" y="3380"/>
                  </a:lnTo>
                  <a:lnTo>
                    <a:pt x="1277" y="3400"/>
                  </a:lnTo>
                  <a:lnTo>
                    <a:pt x="1273" y="3416"/>
                  </a:lnTo>
                  <a:lnTo>
                    <a:pt x="1267" y="3435"/>
                  </a:lnTo>
                  <a:lnTo>
                    <a:pt x="1260" y="3451"/>
                  </a:lnTo>
                  <a:lnTo>
                    <a:pt x="1251" y="3466"/>
                  </a:lnTo>
                  <a:lnTo>
                    <a:pt x="1242" y="3479"/>
                  </a:lnTo>
                  <a:lnTo>
                    <a:pt x="1229" y="3492"/>
                  </a:lnTo>
                  <a:lnTo>
                    <a:pt x="1216" y="3503"/>
                  </a:lnTo>
                  <a:lnTo>
                    <a:pt x="1201" y="3514"/>
                  </a:lnTo>
                  <a:lnTo>
                    <a:pt x="1187" y="3523"/>
                  </a:lnTo>
                  <a:lnTo>
                    <a:pt x="1170" y="3530"/>
                  </a:lnTo>
                  <a:lnTo>
                    <a:pt x="1153" y="3537"/>
                  </a:lnTo>
                  <a:lnTo>
                    <a:pt x="1137" y="3543"/>
                  </a:lnTo>
                  <a:lnTo>
                    <a:pt x="1119" y="3547"/>
                  </a:lnTo>
                  <a:lnTo>
                    <a:pt x="1100" y="3550"/>
                  </a:lnTo>
                  <a:lnTo>
                    <a:pt x="1082" y="3552"/>
                  </a:lnTo>
                  <a:lnTo>
                    <a:pt x="1063" y="3552"/>
                  </a:lnTo>
                  <a:lnTo>
                    <a:pt x="1047" y="3550"/>
                  </a:lnTo>
                  <a:lnTo>
                    <a:pt x="1029" y="3548"/>
                  </a:lnTo>
                  <a:lnTo>
                    <a:pt x="1012" y="3545"/>
                  </a:lnTo>
                  <a:lnTo>
                    <a:pt x="994" y="3539"/>
                  </a:lnTo>
                  <a:lnTo>
                    <a:pt x="979" y="3532"/>
                  </a:lnTo>
                  <a:lnTo>
                    <a:pt x="964" y="3525"/>
                  </a:lnTo>
                  <a:lnTo>
                    <a:pt x="950" y="3514"/>
                  </a:lnTo>
                  <a:lnTo>
                    <a:pt x="937" y="3503"/>
                  </a:lnTo>
                  <a:lnTo>
                    <a:pt x="926" y="3490"/>
                  </a:lnTo>
                  <a:lnTo>
                    <a:pt x="915" y="3475"/>
                  </a:lnTo>
                  <a:lnTo>
                    <a:pt x="907" y="3460"/>
                  </a:lnTo>
                  <a:lnTo>
                    <a:pt x="900" y="3442"/>
                  </a:lnTo>
                  <a:lnTo>
                    <a:pt x="895" y="3424"/>
                  </a:lnTo>
                  <a:lnTo>
                    <a:pt x="893" y="3403"/>
                  </a:lnTo>
                  <a:lnTo>
                    <a:pt x="893" y="3403"/>
                  </a:lnTo>
                  <a:lnTo>
                    <a:pt x="891" y="3194"/>
                  </a:lnTo>
                  <a:lnTo>
                    <a:pt x="889" y="2985"/>
                  </a:lnTo>
                  <a:lnTo>
                    <a:pt x="889" y="2568"/>
                  </a:lnTo>
                  <a:lnTo>
                    <a:pt x="889" y="2151"/>
                  </a:lnTo>
                  <a:lnTo>
                    <a:pt x="889" y="1735"/>
                  </a:lnTo>
                  <a:lnTo>
                    <a:pt x="889" y="1735"/>
                  </a:lnTo>
                  <a:lnTo>
                    <a:pt x="799" y="1735"/>
                  </a:lnTo>
                  <a:lnTo>
                    <a:pt x="799" y="1735"/>
                  </a:lnTo>
                  <a:lnTo>
                    <a:pt x="799" y="2462"/>
                  </a:lnTo>
                  <a:lnTo>
                    <a:pt x="799" y="2825"/>
                  </a:lnTo>
                  <a:lnTo>
                    <a:pt x="799" y="3189"/>
                  </a:lnTo>
                  <a:lnTo>
                    <a:pt x="799" y="3189"/>
                  </a:lnTo>
                  <a:lnTo>
                    <a:pt x="799" y="3229"/>
                  </a:lnTo>
                  <a:lnTo>
                    <a:pt x="797" y="3268"/>
                  </a:lnTo>
                  <a:lnTo>
                    <a:pt x="795" y="3308"/>
                  </a:lnTo>
                  <a:lnTo>
                    <a:pt x="790" y="3347"/>
                  </a:lnTo>
                  <a:lnTo>
                    <a:pt x="784" y="3387"/>
                  </a:lnTo>
                  <a:lnTo>
                    <a:pt x="775" y="3425"/>
                  </a:lnTo>
                  <a:lnTo>
                    <a:pt x="764" y="3464"/>
                  </a:lnTo>
                  <a:lnTo>
                    <a:pt x="751" y="3501"/>
                  </a:lnTo>
                  <a:lnTo>
                    <a:pt x="751" y="3501"/>
                  </a:lnTo>
                  <a:lnTo>
                    <a:pt x="726" y="3519"/>
                  </a:lnTo>
                  <a:lnTo>
                    <a:pt x="698" y="3532"/>
                  </a:lnTo>
                  <a:lnTo>
                    <a:pt x="670" y="3543"/>
                  </a:lnTo>
                  <a:lnTo>
                    <a:pt x="641" y="3550"/>
                  </a:lnTo>
                  <a:lnTo>
                    <a:pt x="610" y="3554"/>
                  </a:lnTo>
                  <a:lnTo>
                    <a:pt x="580" y="3554"/>
                  </a:lnTo>
                  <a:lnTo>
                    <a:pt x="551" y="3550"/>
                  </a:lnTo>
                  <a:lnTo>
                    <a:pt x="522" y="3543"/>
                  </a:lnTo>
                  <a:lnTo>
                    <a:pt x="494" y="3532"/>
                  </a:lnTo>
                  <a:lnTo>
                    <a:pt x="468" y="3517"/>
                  </a:lnTo>
                  <a:lnTo>
                    <a:pt x="457" y="3510"/>
                  </a:lnTo>
                  <a:lnTo>
                    <a:pt x="446" y="3501"/>
                  </a:lnTo>
                  <a:lnTo>
                    <a:pt x="437" y="3490"/>
                  </a:lnTo>
                  <a:lnTo>
                    <a:pt x="428" y="3481"/>
                  </a:lnTo>
                  <a:lnTo>
                    <a:pt x="419" y="3468"/>
                  </a:lnTo>
                  <a:lnTo>
                    <a:pt x="411" y="3455"/>
                  </a:lnTo>
                  <a:lnTo>
                    <a:pt x="406" y="3442"/>
                  </a:lnTo>
                  <a:lnTo>
                    <a:pt x="400" y="3429"/>
                  </a:lnTo>
                  <a:lnTo>
                    <a:pt x="397" y="3413"/>
                  </a:lnTo>
                  <a:lnTo>
                    <a:pt x="393" y="3398"/>
                  </a:lnTo>
                  <a:lnTo>
                    <a:pt x="393" y="3381"/>
                  </a:lnTo>
                  <a:lnTo>
                    <a:pt x="393" y="3363"/>
                  </a:lnTo>
                  <a:lnTo>
                    <a:pt x="393" y="3363"/>
                  </a:lnTo>
                  <a:lnTo>
                    <a:pt x="391" y="3016"/>
                  </a:lnTo>
                  <a:lnTo>
                    <a:pt x="389" y="2669"/>
                  </a:lnTo>
                  <a:lnTo>
                    <a:pt x="389" y="1975"/>
                  </a:lnTo>
                  <a:lnTo>
                    <a:pt x="389" y="1281"/>
                  </a:lnTo>
                  <a:lnTo>
                    <a:pt x="389" y="934"/>
                  </a:lnTo>
                  <a:lnTo>
                    <a:pt x="388" y="587"/>
                  </a:lnTo>
                  <a:lnTo>
                    <a:pt x="388" y="587"/>
                  </a:lnTo>
                  <a:lnTo>
                    <a:pt x="301" y="587"/>
                  </a:lnTo>
                  <a:lnTo>
                    <a:pt x="301" y="587"/>
                  </a:lnTo>
                  <a:lnTo>
                    <a:pt x="299" y="817"/>
                  </a:lnTo>
                  <a:lnTo>
                    <a:pt x="299" y="1048"/>
                  </a:lnTo>
                  <a:lnTo>
                    <a:pt x="299" y="1277"/>
                  </a:lnTo>
                  <a:lnTo>
                    <a:pt x="299" y="1507"/>
                  </a:lnTo>
                  <a:lnTo>
                    <a:pt x="299" y="1507"/>
                  </a:lnTo>
                  <a:lnTo>
                    <a:pt x="298" y="1527"/>
                  </a:lnTo>
                  <a:lnTo>
                    <a:pt x="296" y="1547"/>
                  </a:lnTo>
                  <a:lnTo>
                    <a:pt x="294" y="1569"/>
                  </a:lnTo>
                  <a:lnTo>
                    <a:pt x="288" y="1590"/>
                  </a:lnTo>
                  <a:lnTo>
                    <a:pt x="283" y="1612"/>
                  </a:lnTo>
                  <a:lnTo>
                    <a:pt x="276" y="1632"/>
                  </a:lnTo>
                  <a:lnTo>
                    <a:pt x="268" y="1652"/>
                  </a:lnTo>
                  <a:lnTo>
                    <a:pt x="257" y="1670"/>
                  </a:lnTo>
                  <a:lnTo>
                    <a:pt x="246" y="1689"/>
                  </a:lnTo>
                  <a:lnTo>
                    <a:pt x="233" y="1703"/>
                  </a:lnTo>
                  <a:lnTo>
                    <a:pt x="219" y="1716"/>
                  </a:lnTo>
                  <a:lnTo>
                    <a:pt x="202" y="1727"/>
                  </a:lnTo>
                  <a:lnTo>
                    <a:pt x="184" y="1735"/>
                  </a:lnTo>
                  <a:lnTo>
                    <a:pt x="165" y="1738"/>
                  </a:lnTo>
                  <a:lnTo>
                    <a:pt x="143" y="1740"/>
                  </a:lnTo>
                  <a:lnTo>
                    <a:pt x="119" y="1736"/>
                  </a:lnTo>
                  <a:lnTo>
                    <a:pt x="119" y="1736"/>
                  </a:lnTo>
                  <a:lnTo>
                    <a:pt x="107" y="1736"/>
                  </a:lnTo>
                  <a:lnTo>
                    <a:pt x="94" y="1735"/>
                  </a:lnTo>
                  <a:lnTo>
                    <a:pt x="81" y="1731"/>
                  </a:lnTo>
                  <a:lnTo>
                    <a:pt x="68" y="1725"/>
                  </a:lnTo>
                  <a:lnTo>
                    <a:pt x="57" y="1718"/>
                  </a:lnTo>
                  <a:lnTo>
                    <a:pt x="48" y="1711"/>
                  </a:lnTo>
                  <a:lnTo>
                    <a:pt x="39" y="1700"/>
                  </a:lnTo>
                  <a:lnTo>
                    <a:pt x="29" y="1691"/>
                  </a:lnTo>
                  <a:lnTo>
                    <a:pt x="22" y="1678"/>
                  </a:lnTo>
                  <a:lnTo>
                    <a:pt x="17" y="1667"/>
                  </a:lnTo>
                  <a:lnTo>
                    <a:pt x="11" y="1654"/>
                  </a:lnTo>
                  <a:lnTo>
                    <a:pt x="7" y="1641"/>
                  </a:lnTo>
                  <a:lnTo>
                    <a:pt x="4" y="1628"/>
                  </a:lnTo>
                  <a:lnTo>
                    <a:pt x="2" y="1613"/>
                  </a:lnTo>
                  <a:lnTo>
                    <a:pt x="2" y="1601"/>
                  </a:lnTo>
                  <a:lnTo>
                    <a:pt x="2" y="1588"/>
                  </a:lnTo>
                  <a:lnTo>
                    <a:pt x="2" y="1588"/>
                  </a:lnTo>
                  <a:lnTo>
                    <a:pt x="0" y="1296"/>
                  </a:lnTo>
                  <a:lnTo>
                    <a:pt x="0" y="1004"/>
                  </a:lnTo>
                  <a:lnTo>
                    <a:pt x="2" y="420"/>
                  </a:lnTo>
                  <a:lnTo>
                    <a:pt x="2" y="420"/>
                  </a:lnTo>
                  <a:lnTo>
                    <a:pt x="2" y="392"/>
                  </a:lnTo>
                  <a:lnTo>
                    <a:pt x="4" y="365"/>
                  </a:lnTo>
                  <a:lnTo>
                    <a:pt x="7" y="337"/>
                  </a:lnTo>
                  <a:lnTo>
                    <a:pt x="13" y="310"/>
                  </a:lnTo>
                  <a:lnTo>
                    <a:pt x="20" y="282"/>
                  </a:lnTo>
                  <a:lnTo>
                    <a:pt x="28" y="257"/>
                  </a:lnTo>
                  <a:lnTo>
                    <a:pt x="39" y="231"/>
                  </a:lnTo>
                  <a:lnTo>
                    <a:pt x="51" y="205"/>
                  </a:lnTo>
                  <a:lnTo>
                    <a:pt x="66" y="181"/>
                  </a:lnTo>
                  <a:lnTo>
                    <a:pt x="83" y="159"/>
                  </a:lnTo>
                  <a:lnTo>
                    <a:pt x="99" y="139"/>
                  </a:lnTo>
                  <a:lnTo>
                    <a:pt x="119" y="119"/>
                  </a:lnTo>
                  <a:lnTo>
                    <a:pt x="140" y="101"/>
                  </a:lnTo>
                  <a:lnTo>
                    <a:pt x="163" y="84"/>
                  </a:lnTo>
                  <a:lnTo>
                    <a:pt x="187" y="71"/>
                  </a:lnTo>
                  <a:lnTo>
                    <a:pt x="213" y="58"/>
                  </a:lnTo>
                  <a:lnTo>
                    <a:pt x="213"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016" name="Group 1015"/>
          <p:cNvGrpSpPr/>
          <p:nvPr/>
        </p:nvGrpSpPr>
        <p:grpSpPr>
          <a:xfrm rot="2114316">
            <a:off x="4536097" y="3343009"/>
            <a:ext cx="104940" cy="288698"/>
            <a:chOff x="5422401" y="1772114"/>
            <a:chExt cx="99173" cy="272833"/>
          </a:xfrm>
          <a:solidFill>
            <a:schemeClr val="accent5"/>
          </a:solidFill>
        </p:grpSpPr>
        <p:sp>
          <p:nvSpPr>
            <p:cNvPr id="1017" name="Rectangle 1016"/>
            <p:cNvSpPr/>
            <p:nvPr/>
          </p:nvSpPr>
          <p:spPr bwMode="auto">
            <a:xfrm rot="13260000" flipH="1">
              <a:off x="5460056" y="1772114"/>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8" name="Diagonal Stripe 1017"/>
            <p:cNvSpPr/>
            <p:nvPr/>
          </p:nvSpPr>
          <p:spPr bwMode="auto">
            <a:xfrm rot="19432650">
              <a:off x="5422401" y="1862067"/>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19" name="Group 1018"/>
          <p:cNvGrpSpPr/>
          <p:nvPr/>
        </p:nvGrpSpPr>
        <p:grpSpPr>
          <a:xfrm flipH="1">
            <a:off x="4709371" y="3059793"/>
            <a:ext cx="203190" cy="203190"/>
            <a:chOff x="4394973" y="1762558"/>
            <a:chExt cx="352210" cy="352210"/>
          </a:xfrm>
        </p:grpSpPr>
        <p:grpSp>
          <p:nvGrpSpPr>
            <p:cNvPr id="1020" name="Group 1019"/>
            <p:cNvGrpSpPr/>
            <p:nvPr/>
          </p:nvGrpSpPr>
          <p:grpSpPr>
            <a:xfrm flipH="1">
              <a:off x="4394973" y="1762558"/>
              <a:ext cx="352210" cy="352210"/>
              <a:chOff x="5411363" y="1755522"/>
              <a:chExt cx="316187" cy="316187"/>
            </a:xfrm>
          </p:grpSpPr>
          <p:sp>
            <p:nvSpPr>
              <p:cNvPr id="1023" name="Oval 1022"/>
              <p:cNvSpPr/>
              <p:nvPr/>
            </p:nvSpPr>
            <p:spPr bwMode="auto">
              <a:xfrm>
                <a:off x="5411363" y="1755522"/>
                <a:ext cx="316187" cy="31618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8" name="Oval 1027"/>
              <p:cNvSpPr/>
              <p:nvPr/>
            </p:nvSpPr>
            <p:spPr bwMode="auto">
              <a:xfrm>
                <a:off x="5462797" y="1806956"/>
                <a:ext cx="213318" cy="21331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9" name="Oval 1028"/>
              <p:cNvSpPr/>
              <p:nvPr/>
            </p:nvSpPr>
            <p:spPr bwMode="auto">
              <a:xfrm>
                <a:off x="5506446" y="1850605"/>
                <a:ext cx="126020" cy="126020"/>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21" name="Rectangle 1020"/>
            <p:cNvSpPr/>
            <p:nvPr/>
          </p:nvSpPr>
          <p:spPr bwMode="auto">
            <a:xfrm flipH="1">
              <a:off x="4553229" y="1795031"/>
              <a:ext cx="35696" cy="26441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2" name="Rectangle 1021"/>
            <p:cNvSpPr/>
            <p:nvPr/>
          </p:nvSpPr>
          <p:spPr bwMode="auto">
            <a:xfrm rot="5400000" flipH="1">
              <a:off x="4559388" y="1806456"/>
              <a:ext cx="35696" cy="26441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30" name="Rounded Rectangle 1029"/>
          <p:cNvSpPr/>
          <p:nvPr/>
        </p:nvSpPr>
        <p:spPr bwMode="auto">
          <a:xfrm>
            <a:off x="5130675" y="3825602"/>
            <a:ext cx="895004" cy="282209"/>
          </a:xfrm>
          <a:prstGeom prst="round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1" name="Rounded Rectangle 1030"/>
          <p:cNvSpPr/>
          <p:nvPr/>
        </p:nvSpPr>
        <p:spPr bwMode="auto">
          <a:xfrm>
            <a:off x="5029886" y="3966705"/>
            <a:ext cx="1096582" cy="158486"/>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32" name="Group 1031"/>
          <p:cNvGrpSpPr/>
          <p:nvPr/>
        </p:nvGrpSpPr>
        <p:grpSpPr>
          <a:xfrm flipH="1">
            <a:off x="6035834" y="3678707"/>
            <a:ext cx="848425" cy="678680"/>
            <a:chOff x="6159848" y="2649092"/>
            <a:chExt cx="848425" cy="678680"/>
          </a:xfrm>
        </p:grpSpPr>
        <p:grpSp>
          <p:nvGrpSpPr>
            <p:cNvPr id="1033" name="Group 1032"/>
            <p:cNvGrpSpPr/>
            <p:nvPr/>
          </p:nvGrpSpPr>
          <p:grpSpPr>
            <a:xfrm>
              <a:off x="6159848" y="3067772"/>
              <a:ext cx="255538" cy="260000"/>
              <a:chOff x="8629196" y="2775642"/>
              <a:chExt cx="1130448" cy="1150187"/>
            </a:xfrm>
          </p:grpSpPr>
          <p:sp>
            <p:nvSpPr>
              <p:cNvPr id="1088" name="Parallelogram 1087"/>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89" name="Parallelogram 1088"/>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90" name="Rectangle 1089"/>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4" name="Group 1033"/>
            <p:cNvGrpSpPr/>
            <p:nvPr/>
          </p:nvGrpSpPr>
          <p:grpSpPr>
            <a:xfrm>
              <a:off x="6358475" y="3067772"/>
              <a:ext cx="255538" cy="260000"/>
              <a:chOff x="8629196" y="2775642"/>
              <a:chExt cx="1130448" cy="1150187"/>
            </a:xfrm>
          </p:grpSpPr>
          <p:sp>
            <p:nvSpPr>
              <p:cNvPr id="1085" name="Parallelogram 1084"/>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86" name="Parallelogram 1085"/>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87" name="Rectangle 1086"/>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5" name="Group 1034"/>
            <p:cNvGrpSpPr/>
            <p:nvPr/>
          </p:nvGrpSpPr>
          <p:grpSpPr>
            <a:xfrm>
              <a:off x="6554108" y="3067772"/>
              <a:ext cx="255538" cy="260000"/>
              <a:chOff x="8629196" y="2775642"/>
              <a:chExt cx="1130448" cy="1150187"/>
            </a:xfrm>
          </p:grpSpPr>
          <p:sp>
            <p:nvSpPr>
              <p:cNvPr id="1072" name="Parallelogram 1071"/>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73" name="Parallelogram 1072"/>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79" name="Rectangle 1078"/>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6" name="Group 1035"/>
            <p:cNvGrpSpPr/>
            <p:nvPr/>
          </p:nvGrpSpPr>
          <p:grpSpPr>
            <a:xfrm>
              <a:off x="6752735" y="3067772"/>
              <a:ext cx="255538" cy="260000"/>
              <a:chOff x="8629196" y="2775642"/>
              <a:chExt cx="1130448" cy="1150187"/>
            </a:xfrm>
          </p:grpSpPr>
          <p:sp>
            <p:nvSpPr>
              <p:cNvPr id="1062" name="Parallelogram 1061"/>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63" name="Parallelogram 1062"/>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66" name="Rectangle 1065"/>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7" name="Group 1036"/>
            <p:cNvGrpSpPr/>
            <p:nvPr/>
          </p:nvGrpSpPr>
          <p:grpSpPr>
            <a:xfrm>
              <a:off x="6261735" y="2858497"/>
              <a:ext cx="255538" cy="260000"/>
              <a:chOff x="8629196" y="2775642"/>
              <a:chExt cx="1130448" cy="1150187"/>
            </a:xfrm>
          </p:grpSpPr>
          <p:sp>
            <p:nvSpPr>
              <p:cNvPr id="1058" name="Parallelogram 1057"/>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60" name="Parallelogram 1059"/>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61" name="Rectangle 1060"/>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8" name="Group 1037"/>
            <p:cNvGrpSpPr/>
            <p:nvPr/>
          </p:nvGrpSpPr>
          <p:grpSpPr>
            <a:xfrm>
              <a:off x="6453382" y="2858497"/>
              <a:ext cx="255538" cy="260000"/>
              <a:chOff x="8629196" y="2775642"/>
              <a:chExt cx="1130448" cy="1150187"/>
            </a:xfrm>
          </p:grpSpPr>
          <p:sp>
            <p:nvSpPr>
              <p:cNvPr id="1049" name="Parallelogram 1048"/>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53" name="Parallelogram 1052"/>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57" name="Rectangle 1056"/>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9" name="Group 1038"/>
            <p:cNvGrpSpPr/>
            <p:nvPr/>
          </p:nvGrpSpPr>
          <p:grpSpPr>
            <a:xfrm>
              <a:off x="6651081" y="2858497"/>
              <a:ext cx="255538" cy="260000"/>
              <a:chOff x="8629196" y="2775642"/>
              <a:chExt cx="1130448" cy="1150187"/>
            </a:xfrm>
          </p:grpSpPr>
          <p:sp>
            <p:nvSpPr>
              <p:cNvPr id="1044" name="Parallelogram 1043"/>
              <p:cNvSpPr/>
              <p:nvPr/>
            </p:nvSpPr>
            <p:spPr bwMode="auto">
              <a:xfrm>
                <a:off x="8629196" y="2775642"/>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46" name="Parallelogram 1045"/>
              <p:cNvSpPr/>
              <p:nvPr/>
            </p:nvSpPr>
            <p:spPr bwMode="auto">
              <a:xfrm rot="16200000" flipH="1">
                <a:off x="9096106" y="322139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48" name="Rectangle 1047"/>
              <p:cNvSpPr/>
              <p:nvPr/>
            </p:nvSpPr>
            <p:spPr bwMode="auto">
              <a:xfrm>
                <a:off x="8636176" y="3030341"/>
                <a:ext cx="863135" cy="895488"/>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40" name="Group 1039"/>
            <p:cNvGrpSpPr/>
            <p:nvPr/>
          </p:nvGrpSpPr>
          <p:grpSpPr>
            <a:xfrm>
              <a:off x="6341132" y="2649092"/>
              <a:ext cx="255538" cy="260000"/>
              <a:chOff x="8629196" y="2744764"/>
              <a:chExt cx="1130448" cy="1150187"/>
            </a:xfrm>
          </p:grpSpPr>
          <p:sp>
            <p:nvSpPr>
              <p:cNvPr id="1041" name="Parallelogram 1040"/>
              <p:cNvSpPr/>
              <p:nvPr/>
            </p:nvSpPr>
            <p:spPr bwMode="auto">
              <a:xfrm>
                <a:off x="8629196" y="2744764"/>
                <a:ext cx="1098084" cy="228993"/>
              </a:xfrm>
              <a:prstGeom prst="parallelogram">
                <a:avLst>
                  <a:gd name="adj" fmla="val 87412"/>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42" name="Parallelogram 1041"/>
              <p:cNvSpPr/>
              <p:nvPr/>
            </p:nvSpPr>
            <p:spPr bwMode="auto">
              <a:xfrm rot="16200000" flipH="1">
                <a:off x="9096106" y="3190510"/>
                <a:ext cx="1098084" cy="228993"/>
              </a:xfrm>
              <a:prstGeom prst="parallelogram">
                <a:avLst>
                  <a:gd name="adj" fmla="val 111797"/>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1043" name="Rectangle 1042"/>
              <p:cNvSpPr/>
              <p:nvPr/>
            </p:nvSpPr>
            <p:spPr bwMode="auto">
              <a:xfrm>
                <a:off x="8636177" y="2999464"/>
                <a:ext cx="863136" cy="895487"/>
              </a:xfrm>
              <a:prstGeom prst="rect">
                <a:avLst/>
              </a:prstGeom>
              <a:solidFill>
                <a:schemeClr val="accent1">
                  <a:lumMod val="75000"/>
                </a:schemeClr>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091" name="Group 1090"/>
          <p:cNvGrpSpPr>
            <a:grpSpLocks noChangeAspect="1"/>
          </p:cNvGrpSpPr>
          <p:nvPr/>
        </p:nvGrpSpPr>
        <p:grpSpPr>
          <a:xfrm>
            <a:off x="5696796" y="3518686"/>
            <a:ext cx="130675" cy="149683"/>
            <a:chOff x="6983648" y="1445099"/>
            <a:chExt cx="547340" cy="626953"/>
          </a:xfrm>
        </p:grpSpPr>
        <p:grpSp>
          <p:nvGrpSpPr>
            <p:cNvPr id="1093" name="Group 1092"/>
            <p:cNvGrpSpPr/>
            <p:nvPr/>
          </p:nvGrpSpPr>
          <p:grpSpPr>
            <a:xfrm>
              <a:off x="7194775" y="1531034"/>
              <a:ext cx="142870" cy="365650"/>
              <a:chOff x="7010073" y="1548130"/>
              <a:chExt cx="1648459" cy="4218939"/>
            </a:xfrm>
            <a:solidFill>
              <a:schemeClr val="accent2"/>
            </a:solidFill>
          </p:grpSpPr>
          <p:sp>
            <p:nvSpPr>
              <p:cNvPr id="1095" name="Freeform 10"/>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solidFill>
                <a:srgbClr val="FCC12E"/>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00188F"/>
                  </a:solidFill>
                </a:endParaRPr>
              </a:p>
            </p:txBody>
          </p:sp>
          <p:sp>
            <p:nvSpPr>
              <p:cNvPr id="1098" name="Freeform 11"/>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solidFill>
                <a:srgbClr val="EF8A2F"/>
              </a:solidFill>
              <a:ln w="3175">
                <a:solidFill>
                  <a:srgbClr val="EF8A2F"/>
                </a:solidFill>
                <a:round/>
                <a:headEnd/>
                <a:tailEnd/>
              </a:ln>
            </p:spPr>
            <p:txBody>
              <a:bodyPr vert="horz" wrap="square" lIns="91440" tIns="45720" rIns="91440" bIns="45720" numCol="1" anchor="t" anchorCtr="0" compatLnSpc="1">
                <a:prstTxWarp prst="textNoShape">
                  <a:avLst/>
                </a:prstTxWarp>
              </a:bodyPr>
              <a:lstStyle/>
              <a:p>
                <a:endParaRPr lang="en-US" sz="1600">
                  <a:solidFill>
                    <a:srgbClr val="00188F"/>
                  </a:solidFill>
                </a:endParaRPr>
              </a:p>
            </p:txBody>
          </p:sp>
        </p:grpSp>
        <p:sp>
          <p:nvSpPr>
            <p:cNvPr id="1094"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99" name="Group 1098"/>
          <p:cNvGrpSpPr/>
          <p:nvPr/>
        </p:nvGrpSpPr>
        <p:grpSpPr>
          <a:xfrm rot="12600000">
            <a:off x="791160" y="4053231"/>
            <a:ext cx="232429" cy="343837"/>
            <a:chOff x="2687372" y="3149601"/>
            <a:chExt cx="81465" cy="132564"/>
          </a:xfrm>
          <a:solidFill>
            <a:schemeClr val="accent1"/>
          </a:solidFill>
        </p:grpSpPr>
        <p:sp>
          <p:nvSpPr>
            <p:cNvPr id="110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107" name="Group 1106"/>
          <p:cNvGrpSpPr/>
          <p:nvPr/>
        </p:nvGrpSpPr>
        <p:grpSpPr>
          <a:xfrm rot="9000000" flipH="1">
            <a:off x="5952938" y="3323708"/>
            <a:ext cx="158752" cy="234845"/>
            <a:chOff x="2687372" y="3149601"/>
            <a:chExt cx="81465" cy="132564"/>
          </a:xfrm>
          <a:solidFill>
            <a:schemeClr val="accent5"/>
          </a:solidFill>
        </p:grpSpPr>
        <p:sp>
          <p:nvSpPr>
            <p:cNvPr id="1108"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9"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4"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5"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6"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7"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118" name="Group 1117"/>
          <p:cNvGrpSpPr/>
          <p:nvPr/>
        </p:nvGrpSpPr>
        <p:grpSpPr>
          <a:xfrm rot="12600000">
            <a:off x="3310140" y="3415864"/>
            <a:ext cx="158752" cy="234845"/>
            <a:chOff x="2687372" y="3149601"/>
            <a:chExt cx="81465" cy="132564"/>
          </a:xfrm>
          <a:solidFill>
            <a:srgbClr val="8DC548"/>
          </a:solidFill>
        </p:grpSpPr>
        <p:sp>
          <p:nvSpPr>
            <p:cNvPr id="1123"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131" name="Group 1130"/>
          <p:cNvGrpSpPr/>
          <p:nvPr/>
        </p:nvGrpSpPr>
        <p:grpSpPr>
          <a:xfrm rot="5866465" flipH="1">
            <a:off x="4877280" y="5075011"/>
            <a:ext cx="192090" cy="284163"/>
            <a:chOff x="2687372" y="3149601"/>
            <a:chExt cx="81465" cy="132564"/>
          </a:xfrm>
          <a:solidFill>
            <a:srgbClr val="8DC548"/>
          </a:solidFill>
        </p:grpSpPr>
        <p:sp>
          <p:nvSpPr>
            <p:cNvPr id="1132"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33"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34"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42"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4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14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pic>
        <p:nvPicPr>
          <p:cNvPr id="1146" name="Picture 20"/>
          <p:cNvPicPr>
            <a:picLocks noChangeAspect="1" noChangeArrowheads="1"/>
          </p:cNvPicPr>
          <p:nvPr/>
        </p:nvPicPr>
        <p:blipFill rotWithShape="1">
          <a:blip r:embed="rId3">
            <a:extLst>
              <a:ext uri="{28A0092B-C50C-407E-A947-70E740481C1C}">
                <a14:useLocalDpi xmlns:a14="http://schemas.microsoft.com/office/drawing/2010/main" val="0"/>
              </a:ext>
            </a:extLst>
          </a:blip>
          <a:srcRect l="73404" t="74835" r="25710" b="7811"/>
          <a:stretch/>
        </p:blipFill>
        <p:spPr bwMode="auto">
          <a:xfrm>
            <a:off x="7032935" y="5132257"/>
            <a:ext cx="108030" cy="11901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1152" name="Group 1151"/>
          <p:cNvGrpSpPr/>
          <p:nvPr/>
        </p:nvGrpSpPr>
        <p:grpSpPr>
          <a:xfrm>
            <a:off x="6190022" y="5358168"/>
            <a:ext cx="1162183" cy="888993"/>
            <a:chOff x="5427663" y="2937620"/>
            <a:chExt cx="1308563" cy="1000962"/>
          </a:xfrm>
          <a:solidFill>
            <a:srgbClr val="5F8A95"/>
          </a:solidFill>
        </p:grpSpPr>
        <p:sp>
          <p:nvSpPr>
            <p:cNvPr id="1153" name="Freeform 512"/>
            <p:cNvSpPr>
              <a:spLocks/>
            </p:cNvSpPr>
            <p:nvPr/>
          </p:nvSpPr>
          <p:spPr bwMode="auto">
            <a:xfrm>
              <a:off x="6369513" y="2937620"/>
              <a:ext cx="366713" cy="873124"/>
            </a:xfrm>
            <a:custGeom>
              <a:avLst/>
              <a:gdLst>
                <a:gd name="T0" fmla="*/ 0 w 923"/>
                <a:gd name="T1" fmla="*/ 0 h 2201"/>
                <a:gd name="T2" fmla="*/ 141 w 923"/>
                <a:gd name="T3" fmla="*/ 0 h 2201"/>
                <a:gd name="T4" fmla="*/ 141 w 923"/>
                <a:gd name="T5" fmla="*/ 2060 h 2201"/>
                <a:gd name="T6" fmla="*/ 923 w 923"/>
                <a:gd name="T7" fmla="*/ 2060 h 2201"/>
                <a:gd name="T8" fmla="*/ 923 w 923"/>
                <a:gd name="T9" fmla="*/ 2201 h 2201"/>
                <a:gd name="T10" fmla="*/ 0 w 923"/>
                <a:gd name="T11" fmla="*/ 2201 h 2201"/>
                <a:gd name="T12" fmla="*/ 0 w 923"/>
                <a:gd name="T13" fmla="*/ 0 h 2201"/>
              </a:gdLst>
              <a:ahLst/>
              <a:cxnLst>
                <a:cxn ang="0">
                  <a:pos x="T0" y="T1"/>
                </a:cxn>
                <a:cxn ang="0">
                  <a:pos x="T2" y="T3"/>
                </a:cxn>
                <a:cxn ang="0">
                  <a:pos x="T4" y="T5"/>
                </a:cxn>
                <a:cxn ang="0">
                  <a:pos x="T6" y="T7"/>
                </a:cxn>
                <a:cxn ang="0">
                  <a:pos x="T8" y="T9"/>
                </a:cxn>
                <a:cxn ang="0">
                  <a:pos x="T10" y="T11"/>
                </a:cxn>
                <a:cxn ang="0">
                  <a:pos x="T12" y="T13"/>
                </a:cxn>
              </a:cxnLst>
              <a:rect l="0" t="0" r="r" b="b"/>
              <a:pathLst>
                <a:path w="923" h="2201">
                  <a:moveTo>
                    <a:pt x="0" y="0"/>
                  </a:moveTo>
                  <a:lnTo>
                    <a:pt x="141" y="0"/>
                  </a:lnTo>
                  <a:lnTo>
                    <a:pt x="141" y="2060"/>
                  </a:lnTo>
                  <a:lnTo>
                    <a:pt x="923" y="2060"/>
                  </a:lnTo>
                  <a:lnTo>
                    <a:pt x="923" y="2201"/>
                  </a:lnTo>
                  <a:lnTo>
                    <a:pt x="0" y="2201"/>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sp>
          <p:nvSpPr>
            <p:cNvPr id="1154" name="Rectangle 513"/>
            <p:cNvSpPr>
              <a:spLocks noChangeArrowheads="1"/>
            </p:cNvSpPr>
            <p:nvPr/>
          </p:nvSpPr>
          <p:spPr bwMode="auto">
            <a:xfrm>
              <a:off x="6454969" y="3408158"/>
              <a:ext cx="278527" cy="311181"/>
            </a:xfrm>
            <a:prstGeom prst="rect">
              <a:avLst/>
            </a:prstGeom>
            <a:solidFill>
              <a:schemeClr val="accent1">
                <a:lumMod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1155" name="Rectangle 514"/>
            <p:cNvSpPr>
              <a:spLocks noChangeArrowheads="1"/>
            </p:cNvSpPr>
            <p:nvPr/>
          </p:nvSpPr>
          <p:spPr bwMode="auto">
            <a:xfrm>
              <a:off x="6458137" y="3093493"/>
              <a:ext cx="242030" cy="278527"/>
            </a:xfrm>
            <a:prstGeom prst="rect">
              <a:avLst/>
            </a:prstGeom>
            <a:solidFill>
              <a:schemeClr val="accent1">
                <a:lumMod val="7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1156" name="Freeform 515"/>
            <p:cNvSpPr>
              <a:spLocks noEditPoints="1"/>
            </p:cNvSpPr>
            <p:nvPr/>
          </p:nvSpPr>
          <p:spPr bwMode="auto">
            <a:xfrm>
              <a:off x="5519733" y="3602033"/>
              <a:ext cx="334962" cy="336549"/>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sp>
          <p:nvSpPr>
            <p:cNvPr id="1157" name="Freeform 516"/>
            <p:cNvSpPr>
              <a:spLocks noEditPoints="1"/>
            </p:cNvSpPr>
            <p:nvPr/>
          </p:nvSpPr>
          <p:spPr bwMode="auto">
            <a:xfrm>
              <a:off x="5992811" y="3602033"/>
              <a:ext cx="334963" cy="336549"/>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sp>
          <p:nvSpPr>
            <p:cNvPr id="1158" name="Freeform 517"/>
            <p:cNvSpPr>
              <a:spLocks/>
            </p:cNvSpPr>
            <p:nvPr/>
          </p:nvSpPr>
          <p:spPr bwMode="auto">
            <a:xfrm>
              <a:off x="5734226" y="2941724"/>
              <a:ext cx="525462" cy="581024"/>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sp>
          <p:nvSpPr>
            <p:cNvPr id="1159" name="Freeform 519"/>
            <p:cNvSpPr>
              <a:spLocks/>
            </p:cNvSpPr>
            <p:nvPr/>
          </p:nvSpPr>
          <p:spPr bwMode="auto">
            <a:xfrm>
              <a:off x="5427663" y="3416301"/>
              <a:ext cx="896938" cy="374650"/>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600" spc="-50">
                <a:gradFill>
                  <a:gsLst>
                    <a:gs pos="0">
                      <a:srgbClr val="FFFFFF"/>
                    </a:gs>
                    <a:gs pos="100000">
                      <a:srgbClr val="FFFFFF"/>
                    </a:gs>
                  </a:gsLst>
                  <a:lin ang="5400000" scaled="0"/>
                </a:gradFill>
                <a:ea typeface="Segoe UI" pitchFamily="34" charset="0"/>
                <a:cs typeface="Segoe UI" pitchFamily="34" charset="0"/>
              </a:endParaRPr>
            </a:p>
          </p:txBody>
        </p:sp>
      </p:grpSp>
      <p:grpSp>
        <p:nvGrpSpPr>
          <p:cNvPr id="969" name="Group 968"/>
          <p:cNvGrpSpPr/>
          <p:nvPr/>
        </p:nvGrpSpPr>
        <p:grpSpPr>
          <a:xfrm>
            <a:off x="8893315" y="2811079"/>
            <a:ext cx="468765" cy="465918"/>
            <a:chOff x="6178987" y="1083053"/>
            <a:chExt cx="2106470" cy="2151434"/>
          </a:xfrm>
          <a:solidFill>
            <a:schemeClr val="bg1">
              <a:alpha val="20000"/>
            </a:schemeClr>
          </a:solidFill>
        </p:grpSpPr>
        <p:sp>
          <p:nvSpPr>
            <p:cNvPr id="970" name="Rectangle 969"/>
            <p:cNvSpPr/>
            <p:nvPr/>
          </p:nvSpPr>
          <p:spPr bwMode="auto">
            <a:xfrm>
              <a:off x="6178987"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971" name="Rectangle 970"/>
            <p:cNvSpPr/>
            <p:nvPr/>
          </p:nvSpPr>
          <p:spPr bwMode="auto">
            <a:xfrm>
              <a:off x="7297638" y="1083053"/>
              <a:ext cx="986405"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972" name="Rectangle 971"/>
            <p:cNvSpPr/>
            <p:nvPr/>
          </p:nvSpPr>
          <p:spPr bwMode="auto">
            <a:xfrm>
              <a:off x="6179355" y="2245277"/>
              <a:ext cx="986406" cy="9892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973" name="Rectangle 972"/>
            <p:cNvSpPr/>
            <p:nvPr/>
          </p:nvSpPr>
          <p:spPr bwMode="auto">
            <a:xfrm>
              <a:off x="7299054" y="2244788"/>
              <a:ext cx="986403" cy="9892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nvGrpSpPr>
          <p:cNvPr id="583" name="Group 582"/>
          <p:cNvGrpSpPr/>
          <p:nvPr/>
        </p:nvGrpSpPr>
        <p:grpSpPr>
          <a:xfrm rot="20120687">
            <a:off x="8073381" y="3884279"/>
            <a:ext cx="119273" cy="213495"/>
            <a:chOff x="2687372" y="3149601"/>
            <a:chExt cx="81465" cy="132564"/>
          </a:xfrm>
          <a:solidFill>
            <a:schemeClr val="bg1"/>
          </a:solidFill>
        </p:grpSpPr>
        <p:sp>
          <p:nvSpPr>
            <p:cNvPr id="58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7"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9"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599" name="Group 598"/>
          <p:cNvGrpSpPr/>
          <p:nvPr/>
        </p:nvGrpSpPr>
        <p:grpSpPr>
          <a:xfrm rot="12600000">
            <a:off x="7843735" y="5246080"/>
            <a:ext cx="192090" cy="284163"/>
            <a:chOff x="2687372" y="3149601"/>
            <a:chExt cx="81465" cy="132564"/>
          </a:xfrm>
          <a:solidFill>
            <a:schemeClr val="accent1"/>
          </a:solidFill>
        </p:grpSpPr>
        <p:sp>
          <p:nvSpPr>
            <p:cNvPr id="60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0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0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0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0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0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19" name="Rectangle 18"/>
          <p:cNvSpPr/>
          <p:nvPr/>
        </p:nvSpPr>
        <p:spPr bwMode="auto">
          <a:xfrm>
            <a:off x="7757558" y="4046899"/>
            <a:ext cx="78292" cy="782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2" name="TextBox 11"/>
          <p:cNvSpPr txBox="1"/>
          <p:nvPr/>
        </p:nvSpPr>
        <p:spPr>
          <a:xfrm>
            <a:off x="10007259" y="2342327"/>
            <a:ext cx="670160" cy="123111"/>
          </a:xfrm>
          <a:prstGeom prst="rect">
            <a:avLst/>
          </a:prstGeom>
          <a:noFill/>
          <a:ln>
            <a:noFill/>
            <a:headEnd type="none" w="med" len="med"/>
            <a:tailEnd type="none" w="med" len="med"/>
          </a:ln>
        </p:spPr>
        <p:txBody>
          <a:bodyPr wrap="square" lIns="0" tIns="0" rIns="0" bIns="0" rtlCol="0">
            <a:spAutoFit/>
          </a:bodyPr>
          <a:lstStyle/>
          <a:p>
            <a:pPr algn="ctr"/>
            <a:r>
              <a:rPr lang="en-US" sz="800" spc="-38" dirty="0">
                <a:solidFill>
                  <a:srgbClr val="00BCF2"/>
                </a:solidFill>
                <a:ea typeface="Segoe UI" pitchFamily="34" charset="0"/>
                <a:cs typeface="Segoe UI" pitchFamily="34" charset="0"/>
              </a:rPr>
              <a:t>Management</a:t>
            </a:r>
            <a:endParaRPr lang="en-US" sz="950" spc="-38" dirty="0">
              <a:solidFill>
                <a:srgbClr val="00BCF2"/>
              </a:solidFill>
              <a:ea typeface="Segoe UI" pitchFamily="34" charset="0"/>
              <a:cs typeface="Segoe UI" pitchFamily="34" charset="0"/>
            </a:endParaRPr>
          </a:p>
        </p:txBody>
      </p:sp>
      <p:sp>
        <p:nvSpPr>
          <p:cNvPr id="606" name="TextBox 605"/>
          <p:cNvSpPr txBox="1"/>
          <p:nvPr/>
        </p:nvSpPr>
        <p:spPr>
          <a:xfrm>
            <a:off x="9998982" y="3934150"/>
            <a:ext cx="670160" cy="123111"/>
          </a:xfrm>
          <a:prstGeom prst="rect">
            <a:avLst/>
          </a:prstGeom>
          <a:noFill/>
          <a:ln>
            <a:noFill/>
            <a:headEnd type="none" w="med" len="med"/>
            <a:tailEnd type="none" w="med" len="med"/>
          </a:ln>
        </p:spPr>
        <p:txBody>
          <a:bodyPr wrap="square" lIns="0" tIns="0" rIns="0" bIns="0" rtlCol="0">
            <a:spAutoFit/>
          </a:bodyPr>
          <a:lstStyle/>
          <a:p>
            <a:pPr algn="ctr"/>
            <a:r>
              <a:rPr lang="en-US" sz="800" spc="-38" dirty="0">
                <a:solidFill>
                  <a:srgbClr val="00BCF2"/>
                </a:solidFill>
                <a:ea typeface="Segoe UI" pitchFamily="34" charset="0"/>
                <a:cs typeface="Segoe UI" pitchFamily="34" charset="0"/>
              </a:rPr>
              <a:t>R&amp;D</a:t>
            </a:r>
          </a:p>
        </p:txBody>
      </p:sp>
      <p:sp>
        <p:nvSpPr>
          <p:cNvPr id="607" name="TextBox 606"/>
          <p:cNvSpPr txBox="1"/>
          <p:nvPr/>
        </p:nvSpPr>
        <p:spPr>
          <a:xfrm>
            <a:off x="10007259" y="5364799"/>
            <a:ext cx="670160" cy="123111"/>
          </a:xfrm>
          <a:prstGeom prst="rect">
            <a:avLst/>
          </a:prstGeom>
          <a:noFill/>
          <a:ln>
            <a:noFill/>
            <a:headEnd type="none" w="med" len="med"/>
            <a:tailEnd type="none" w="med" len="med"/>
          </a:ln>
        </p:spPr>
        <p:txBody>
          <a:bodyPr wrap="square" lIns="0" tIns="0" rIns="0" bIns="0" rtlCol="0">
            <a:spAutoFit/>
          </a:bodyPr>
          <a:lstStyle/>
          <a:p>
            <a:pPr algn="ctr"/>
            <a:r>
              <a:rPr lang="en-US" sz="800" spc="-38" dirty="0">
                <a:solidFill>
                  <a:srgbClr val="00BCF2"/>
                </a:solidFill>
                <a:ea typeface="Segoe UI" pitchFamily="34" charset="0"/>
                <a:cs typeface="Segoe UI" pitchFamily="34" charset="0"/>
              </a:rPr>
              <a:t>Field Service</a:t>
            </a:r>
          </a:p>
        </p:txBody>
      </p:sp>
      <p:sp>
        <p:nvSpPr>
          <p:cNvPr id="660" name="Rectangle 659"/>
          <p:cNvSpPr/>
          <p:nvPr/>
        </p:nvSpPr>
        <p:spPr bwMode="auto">
          <a:xfrm>
            <a:off x="5692844" y="4535170"/>
            <a:ext cx="511465" cy="588053"/>
          </a:xfrm>
          <a:prstGeom prst="rect">
            <a:avLst/>
          </a:prstGeom>
          <a:solidFill>
            <a:srgbClr val="8DC548">
              <a:alpha val="25000"/>
            </a:srgbClr>
          </a:solidFill>
          <a:ln w="19050">
            <a:solidFill>
              <a:srgbClr val="8DC54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24" name="Group 23"/>
          <p:cNvGrpSpPr/>
          <p:nvPr/>
        </p:nvGrpSpPr>
        <p:grpSpPr>
          <a:xfrm>
            <a:off x="5766789" y="4750393"/>
            <a:ext cx="372874" cy="169741"/>
            <a:chOff x="4603398" y="-948267"/>
            <a:chExt cx="545923" cy="440267"/>
          </a:xfrm>
        </p:grpSpPr>
        <p:sp>
          <p:nvSpPr>
            <p:cNvPr id="23" name="Rectangle 22"/>
            <p:cNvSpPr/>
            <p:nvPr/>
          </p:nvSpPr>
          <p:spPr bwMode="auto">
            <a:xfrm>
              <a:off x="4673675" y="-948267"/>
              <a:ext cx="152479"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686" name="Rectangle 685"/>
            <p:cNvSpPr/>
            <p:nvPr/>
          </p:nvSpPr>
          <p:spPr bwMode="auto">
            <a:xfrm>
              <a:off x="4897857" y="-948267"/>
              <a:ext cx="22666"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689" name="Rectangle 688"/>
            <p:cNvSpPr/>
            <p:nvPr/>
          </p:nvSpPr>
          <p:spPr bwMode="auto">
            <a:xfrm>
              <a:off x="4603398" y="-948267"/>
              <a:ext cx="36502"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697" name="Rectangle 696"/>
            <p:cNvSpPr/>
            <p:nvPr/>
          </p:nvSpPr>
          <p:spPr bwMode="auto">
            <a:xfrm>
              <a:off x="4986178" y="-948267"/>
              <a:ext cx="36502"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36" name="Rectangle 735"/>
            <p:cNvSpPr/>
            <p:nvPr/>
          </p:nvSpPr>
          <p:spPr bwMode="auto">
            <a:xfrm>
              <a:off x="5054010" y="-948267"/>
              <a:ext cx="95311"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76" name="Rectangle 775"/>
            <p:cNvSpPr/>
            <p:nvPr/>
          </p:nvSpPr>
          <p:spPr bwMode="auto">
            <a:xfrm>
              <a:off x="4855566" y="-948267"/>
              <a:ext cx="22666" cy="440267"/>
            </a:xfrm>
            <a:prstGeom prst="rect">
              <a:avLst/>
            </a:pr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777" name="Group 776"/>
          <p:cNvGrpSpPr/>
          <p:nvPr/>
        </p:nvGrpSpPr>
        <p:grpSpPr>
          <a:xfrm>
            <a:off x="5273394" y="5503171"/>
            <a:ext cx="188483" cy="85802"/>
            <a:chOff x="4603398" y="-948267"/>
            <a:chExt cx="545923" cy="440267"/>
          </a:xfrm>
          <a:solidFill>
            <a:schemeClr val="accent1">
              <a:lumMod val="50000"/>
            </a:schemeClr>
          </a:solidFill>
        </p:grpSpPr>
        <p:sp>
          <p:nvSpPr>
            <p:cNvPr id="778" name="Rectangle 777"/>
            <p:cNvSpPr/>
            <p:nvPr/>
          </p:nvSpPr>
          <p:spPr bwMode="auto">
            <a:xfrm>
              <a:off x="4673675" y="-948267"/>
              <a:ext cx="152479"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79" name="Rectangle 778"/>
            <p:cNvSpPr/>
            <p:nvPr/>
          </p:nvSpPr>
          <p:spPr bwMode="auto">
            <a:xfrm>
              <a:off x="4897857"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81" name="Rectangle 780"/>
            <p:cNvSpPr/>
            <p:nvPr/>
          </p:nvSpPr>
          <p:spPr bwMode="auto">
            <a:xfrm>
              <a:off x="460339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82" name="Rectangle 781"/>
            <p:cNvSpPr/>
            <p:nvPr/>
          </p:nvSpPr>
          <p:spPr bwMode="auto">
            <a:xfrm>
              <a:off x="4986178" y="-948267"/>
              <a:ext cx="36502"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83" name="Rectangle 782"/>
            <p:cNvSpPr/>
            <p:nvPr/>
          </p:nvSpPr>
          <p:spPr bwMode="auto">
            <a:xfrm>
              <a:off x="5054010" y="-948267"/>
              <a:ext cx="95311"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784" name="Rectangle 783"/>
            <p:cNvSpPr/>
            <p:nvPr/>
          </p:nvSpPr>
          <p:spPr bwMode="auto">
            <a:xfrm>
              <a:off x="4855566" y="-948267"/>
              <a:ext cx="22666" cy="4402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787" name="Isosceles Triangle 10"/>
          <p:cNvSpPr/>
          <p:nvPr/>
        </p:nvSpPr>
        <p:spPr bwMode="auto">
          <a:xfrm rot="10800000">
            <a:off x="5442142" y="5132254"/>
            <a:ext cx="776224" cy="419306"/>
          </a:xfrm>
          <a:custGeom>
            <a:avLst/>
            <a:gdLst>
              <a:gd name="connsiteX0" fmla="*/ 0 w 537776"/>
              <a:gd name="connsiteY0" fmla="*/ 1305828 h 1305828"/>
              <a:gd name="connsiteX1" fmla="*/ 268888 w 537776"/>
              <a:gd name="connsiteY1" fmla="*/ 0 h 1305828"/>
              <a:gd name="connsiteX2" fmla="*/ 537776 w 537776"/>
              <a:gd name="connsiteY2" fmla="*/ 1305828 h 1305828"/>
              <a:gd name="connsiteX3" fmla="*/ 0 w 537776"/>
              <a:gd name="connsiteY3" fmla="*/ 1305828 h 1305828"/>
              <a:gd name="connsiteX0" fmla="*/ 0 w 1193982"/>
              <a:gd name="connsiteY0" fmla="*/ 984986 h 984986"/>
              <a:gd name="connsiteX1" fmla="*/ 1193982 w 1193982"/>
              <a:gd name="connsiteY1" fmla="*/ 0 h 984986"/>
              <a:gd name="connsiteX2" fmla="*/ 537776 w 1193982"/>
              <a:gd name="connsiteY2" fmla="*/ 984986 h 984986"/>
              <a:gd name="connsiteX3" fmla="*/ 0 w 1193982"/>
              <a:gd name="connsiteY3" fmla="*/ 984986 h 984986"/>
              <a:gd name="connsiteX0" fmla="*/ 0 w 830361"/>
              <a:gd name="connsiteY0" fmla="*/ 685533 h 984986"/>
              <a:gd name="connsiteX1" fmla="*/ 830361 w 830361"/>
              <a:gd name="connsiteY1" fmla="*/ 0 h 984986"/>
              <a:gd name="connsiteX2" fmla="*/ 174155 w 830361"/>
              <a:gd name="connsiteY2" fmla="*/ 984986 h 984986"/>
              <a:gd name="connsiteX3" fmla="*/ 0 w 830361"/>
              <a:gd name="connsiteY3" fmla="*/ 685533 h 984986"/>
              <a:gd name="connsiteX0" fmla="*/ 0 w 830361"/>
              <a:gd name="connsiteY0" fmla="*/ 685533 h 1033112"/>
              <a:gd name="connsiteX1" fmla="*/ 830361 w 830361"/>
              <a:gd name="connsiteY1" fmla="*/ 0 h 1033112"/>
              <a:gd name="connsiteX2" fmla="*/ 548471 w 830361"/>
              <a:gd name="connsiteY2" fmla="*/ 1033112 h 1033112"/>
              <a:gd name="connsiteX3" fmla="*/ 0 w 830361"/>
              <a:gd name="connsiteY3" fmla="*/ 685533 h 1033112"/>
              <a:gd name="connsiteX0" fmla="*/ 0 w 637856"/>
              <a:gd name="connsiteY0" fmla="*/ 974291 h 1033112"/>
              <a:gd name="connsiteX1" fmla="*/ 637856 w 637856"/>
              <a:gd name="connsiteY1" fmla="*/ 0 h 1033112"/>
              <a:gd name="connsiteX2" fmla="*/ 355966 w 637856"/>
              <a:gd name="connsiteY2" fmla="*/ 1033112 h 1033112"/>
              <a:gd name="connsiteX3" fmla="*/ 0 w 637856"/>
              <a:gd name="connsiteY3" fmla="*/ 974291 h 1033112"/>
              <a:gd name="connsiteX0" fmla="*/ 0 w 637856"/>
              <a:gd name="connsiteY0" fmla="*/ 974291 h 990333"/>
              <a:gd name="connsiteX1" fmla="*/ 637856 w 637856"/>
              <a:gd name="connsiteY1" fmla="*/ 0 h 990333"/>
              <a:gd name="connsiteX2" fmla="*/ 462913 w 637856"/>
              <a:gd name="connsiteY2" fmla="*/ 990333 h 990333"/>
              <a:gd name="connsiteX3" fmla="*/ 0 w 637856"/>
              <a:gd name="connsiteY3" fmla="*/ 974291 h 990333"/>
              <a:gd name="connsiteX0" fmla="*/ 0 w 637856"/>
              <a:gd name="connsiteY0" fmla="*/ 974291 h 974291"/>
              <a:gd name="connsiteX1" fmla="*/ 637856 w 637856"/>
              <a:gd name="connsiteY1" fmla="*/ 0 h 974291"/>
              <a:gd name="connsiteX2" fmla="*/ 462913 w 637856"/>
              <a:gd name="connsiteY2" fmla="*/ 974291 h 974291"/>
              <a:gd name="connsiteX3" fmla="*/ 0 w 637856"/>
              <a:gd name="connsiteY3" fmla="*/ 974291 h 974291"/>
              <a:gd name="connsiteX0" fmla="*/ 0 w 686279"/>
              <a:gd name="connsiteY0" fmla="*/ 979855 h 979855"/>
              <a:gd name="connsiteX1" fmla="*/ 686279 w 686279"/>
              <a:gd name="connsiteY1" fmla="*/ 0 h 979855"/>
              <a:gd name="connsiteX2" fmla="*/ 462913 w 686279"/>
              <a:gd name="connsiteY2" fmla="*/ 979855 h 979855"/>
              <a:gd name="connsiteX3" fmla="*/ 0 w 686279"/>
              <a:gd name="connsiteY3" fmla="*/ 979855 h 979855"/>
            </a:gdLst>
            <a:ahLst/>
            <a:cxnLst>
              <a:cxn ang="0">
                <a:pos x="connsiteX0" y="connsiteY0"/>
              </a:cxn>
              <a:cxn ang="0">
                <a:pos x="connsiteX1" y="connsiteY1"/>
              </a:cxn>
              <a:cxn ang="0">
                <a:pos x="connsiteX2" y="connsiteY2"/>
              </a:cxn>
              <a:cxn ang="0">
                <a:pos x="connsiteX3" y="connsiteY3"/>
              </a:cxn>
            </a:cxnLst>
            <a:rect l="l" t="t" r="r" b="b"/>
            <a:pathLst>
              <a:path w="686279" h="979855">
                <a:moveTo>
                  <a:pt x="0" y="979855"/>
                </a:moveTo>
                <a:lnTo>
                  <a:pt x="686279" y="0"/>
                </a:lnTo>
                <a:lnTo>
                  <a:pt x="462913" y="979855"/>
                </a:lnTo>
                <a:lnTo>
                  <a:pt x="0" y="979855"/>
                </a:lnTo>
                <a:close/>
              </a:path>
            </a:pathLst>
          </a:custGeom>
          <a:solidFill>
            <a:srgbClr val="8DC548">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653" name="Rectangle 4"/>
          <p:cNvSpPr/>
          <p:nvPr/>
        </p:nvSpPr>
        <p:spPr bwMode="auto">
          <a:xfrm rot="16929960">
            <a:off x="5162835" y="5350280"/>
            <a:ext cx="59359" cy="345666"/>
          </a:xfrm>
          <a:prstGeom prst="trapezoid">
            <a:avLst>
              <a:gd name="adj" fmla="val 50000"/>
            </a:avLst>
          </a:prstGeom>
          <a:solidFill>
            <a:srgbClr val="8DC548">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0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29" name="Group 28"/>
          <p:cNvGrpSpPr/>
          <p:nvPr/>
        </p:nvGrpSpPr>
        <p:grpSpPr>
          <a:xfrm>
            <a:off x="4426763" y="5132258"/>
            <a:ext cx="605799" cy="885205"/>
            <a:chOff x="4425174" y="5132257"/>
            <a:chExt cx="605799" cy="885205"/>
          </a:xfrm>
        </p:grpSpPr>
        <p:grpSp>
          <p:nvGrpSpPr>
            <p:cNvPr id="26" name="Group 25"/>
            <p:cNvGrpSpPr/>
            <p:nvPr/>
          </p:nvGrpSpPr>
          <p:grpSpPr>
            <a:xfrm>
              <a:off x="4425174" y="5132257"/>
              <a:ext cx="605799" cy="885205"/>
              <a:chOff x="-1270367" y="3461618"/>
              <a:chExt cx="849615" cy="1241473"/>
            </a:xfrm>
          </p:grpSpPr>
          <p:sp>
            <p:nvSpPr>
              <p:cNvPr id="833" name="Oval 58"/>
              <p:cNvSpPr/>
              <p:nvPr/>
            </p:nvSpPr>
            <p:spPr bwMode="auto">
              <a:xfrm>
                <a:off x="-1270367" y="3461618"/>
                <a:ext cx="497674" cy="1241473"/>
              </a:xfrm>
              <a:custGeom>
                <a:avLst/>
                <a:gdLst>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1431 w 746519"/>
                  <a:gd name="connsiteY8" fmla="*/ 1040490 h 1860882"/>
                  <a:gd name="connsiteX9" fmla="*/ 640485 w 746519"/>
                  <a:gd name="connsiteY9" fmla="*/ 978412 h 1860882"/>
                  <a:gd name="connsiteX10" fmla="*/ 641143 w 746519"/>
                  <a:gd name="connsiteY10" fmla="*/ 719987 h 1860882"/>
                  <a:gd name="connsiteX11" fmla="*/ 607021 w 746519"/>
                  <a:gd name="connsiteY11" fmla="*/ 688522 h 1860882"/>
                  <a:gd name="connsiteX12" fmla="*/ 572899 w 746519"/>
                  <a:gd name="connsiteY12" fmla="*/ 719987 h 1860882"/>
                  <a:gd name="connsiteX13" fmla="*/ 573503 w 746519"/>
                  <a:gd name="connsiteY13" fmla="*/ 1788305 h 1860882"/>
                  <a:gd name="connsiteX14" fmla="*/ 494799 w 746519"/>
                  <a:gd name="connsiteY14" fmla="*/ 1860882 h 1860882"/>
                  <a:gd name="connsiteX15" fmla="*/ 494800 w 746519"/>
                  <a:gd name="connsiteY15" fmla="*/ 1860881 h 1860882"/>
                  <a:gd name="connsiteX16" fmla="*/ 416097 w 746519"/>
                  <a:gd name="connsiteY16" fmla="*/ 1788305 h 1860882"/>
                  <a:gd name="connsiteX17" fmla="*/ 413651 w 746519"/>
                  <a:gd name="connsiteY17" fmla="*/ 1183095 h 1860882"/>
                  <a:gd name="connsiteX18" fmla="*/ 390975 w 746519"/>
                  <a:gd name="connsiteY18" fmla="*/ 1162184 h 1860882"/>
                  <a:gd name="connsiteX19" fmla="*/ 353012 w 746519"/>
                  <a:gd name="connsiteY19" fmla="*/ 1162184 h 1860882"/>
                  <a:gd name="connsiteX20" fmla="*/ 330336 w 746519"/>
                  <a:gd name="connsiteY20" fmla="*/ 1183095 h 1860882"/>
                  <a:gd name="connsiteX21" fmla="*/ 330336 w 746519"/>
                  <a:gd name="connsiteY21" fmla="*/ 1204005 h 1860882"/>
                  <a:gd name="connsiteX22" fmla="*/ 333806 w 746519"/>
                  <a:gd name="connsiteY22" fmla="*/ 1788305 h 1860882"/>
                  <a:gd name="connsiteX23" fmla="*/ 255103 w 746519"/>
                  <a:gd name="connsiteY23" fmla="*/ 1860882 h 1860882"/>
                  <a:gd name="connsiteX24" fmla="*/ 255103 w 746519"/>
                  <a:gd name="connsiteY24" fmla="*/ 1860881 h 1860882"/>
                  <a:gd name="connsiteX25" fmla="*/ 176400 w 746519"/>
                  <a:gd name="connsiteY25" fmla="*/ 1788305 h 1860882"/>
                  <a:gd name="connsiteX26" fmla="*/ 176134 w 746519"/>
                  <a:gd name="connsiteY26" fmla="*/ 724482 h 1860882"/>
                  <a:gd name="connsiteX27" fmla="*/ 137138 w 746519"/>
                  <a:gd name="connsiteY27" fmla="*/ 688522 h 1860882"/>
                  <a:gd name="connsiteX28" fmla="*/ 98142 w 746519"/>
                  <a:gd name="connsiteY28" fmla="*/ 724482 h 1860882"/>
                  <a:gd name="connsiteX29" fmla="*/ 102557 w 746519"/>
                  <a:gd name="connsiteY29" fmla="*/ 1043065 h 1860882"/>
                  <a:gd name="connsiteX30" fmla="*/ 53811 w 746519"/>
                  <a:gd name="connsiteY30" fmla="*/ 1075143 h 1860882"/>
                  <a:gd name="connsiteX31" fmla="*/ 0 w 746519"/>
                  <a:gd name="connsiteY31" fmla="*/ 1037915 h 1860882"/>
                  <a:gd name="connsiteX32" fmla="*/ 2533 w 746519"/>
                  <a:gd name="connsiteY32" fmla="*/ 822418 h 1860882"/>
                  <a:gd name="connsiteX33" fmla="*/ 2533 w 746519"/>
                  <a:gd name="connsiteY33" fmla="*/ 578527 h 1860882"/>
                  <a:gd name="connsiteX34" fmla="*/ 2533 w 746519"/>
                  <a:gd name="connsiteY34" fmla="*/ 513688 h 1860882"/>
                  <a:gd name="connsiteX35" fmla="*/ 167038 w 746519"/>
                  <a:gd name="connsiteY35" fmla="*/ 361990 h 1860882"/>
                  <a:gd name="connsiteX36" fmla="*/ 366931 w 746519"/>
                  <a:gd name="connsiteY36" fmla="*/ 0 h 1860882"/>
                  <a:gd name="connsiteX37" fmla="*/ 526414 w 746519"/>
                  <a:gd name="connsiteY37" fmla="*/ 159483 h 1860882"/>
                  <a:gd name="connsiteX38" fmla="*/ 366931 w 746519"/>
                  <a:gd name="connsiteY38" fmla="*/ 318966 h 1860882"/>
                  <a:gd name="connsiteX39" fmla="*/ 207448 w 746519"/>
                  <a:gd name="connsiteY39" fmla="*/ 159483 h 1860882"/>
                  <a:gd name="connsiteX40" fmla="*/ 366931 w 746519"/>
                  <a:gd name="connsiteY40"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95242 w 746519"/>
                  <a:gd name="connsiteY7" fmla="*/ 1069994 h 1860882"/>
                  <a:gd name="connsiteX8" fmla="*/ 640485 w 746519"/>
                  <a:gd name="connsiteY8" fmla="*/ 978412 h 1860882"/>
                  <a:gd name="connsiteX9" fmla="*/ 641143 w 746519"/>
                  <a:gd name="connsiteY9" fmla="*/ 719987 h 1860882"/>
                  <a:gd name="connsiteX10" fmla="*/ 607021 w 746519"/>
                  <a:gd name="connsiteY10" fmla="*/ 688522 h 1860882"/>
                  <a:gd name="connsiteX11" fmla="*/ 572899 w 746519"/>
                  <a:gd name="connsiteY11" fmla="*/ 719987 h 1860882"/>
                  <a:gd name="connsiteX12" fmla="*/ 573503 w 746519"/>
                  <a:gd name="connsiteY12" fmla="*/ 1788305 h 1860882"/>
                  <a:gd name="connsiteX13" fmla="*/ 494799 w 746519"/>
                  <a:gd name="connsiteY13" fmla="*/ 1860882 h 1860882"/>
                  <a:gd name="connsiteX14" fmla="*/ 494800 w 746519"/>
                  <a:gd name="connsiteY14" fmla="*/ 1860881 h 1860882"/>
                  <a:gd name="connsiteX15" fmla="*/ 416097 w 746519"/>
                  <a:gd name="connsiteY15" fmla="*/ 1788305 h 1860882"/>
                  <a:gd name="connsiteX16" fmla="*/ 413651 w 746519"/>
                  <a:gd name="connsiteY16" fmla="*/ 1183095 h 1860882"/>
                  <a:gd name="connsiteX17" fmla="*/ 390975 w 746519"/>
                  <a:gd name="connsiteY17" fmla="*/ 1162184 h 1860882"/>
                  <a:gd name="connsiteX18" fmla="*/ 353012 w 746519"/>
                  <a:gd name="connsiteY18" fmla="*/ 1162184 h 1860882"/>
                  <a:gd name="connsiteX19" fmla="*/ 330336 w 746519"/>
                  <a:gd name="connsiteY19" fmla="*/ 1183095 h 1860882"/>
                  <a:gd name="connsiteX20" fmla="*/ 330336 w 746519"/>
                  <a:gd name="connsiteY20" fmla="*/ 1204005 h 1860882"/>
                  <a:gd name="connsiteX21" fmla="*/ 333806 w 746519"/>
                  <a:gd name="connsiteY21" fmla="*/ 1788305 h 1860882"/>
                  <a:gd name="connsiteX22" fmla="*/ 255103 w 746519"/>
                  <a:gd name="connsiteY22" fmla="*/ 1860882 h 1860882"/>
                  <a:gd name="connsiteX23" fmla="*/ 255103 w 746519"/>
                  <a:gd name="connsiteY23" fmla="*/ 1860881 h 1860882"/>
                  <a:gd name="connsiteX24" fmla="*/ 176400 w 746519"/>
                  <a:gd name="connsiteY24" fmla="*/ 1788305 h 1860882"/>
                  <a:gd name="connsiteX25" fmla="*/ 176134 w 746519"/>
                  <a:gd name="connsiteY25" fmla="*/ 724482 h 1860882"/>
                  <a:gd name="connsiteX26" fmla="*/ 137138 w 746519"/>
                  <a:gd name="connsiteY26" fmla="*/ 688522 h 1860882"/>
                  <a:gd name="connsiteX27" fmla="*/ 98142 w 746519"/>
                  <a:gd name="connsiteY27" fmla="*/ 724482 h 1860882"/>
                  <a:gd name="connsiteX28" fmla="*/ 102557 w 746519"/>
                  <a:gd name="connsiteY28" fmla="*/ 1043065 h 1860882"/>
                  <a:gd name="connsiteX29" fmla="*/ 53811 w 746519"/>
                  <a:gd name="connsiteY29" fmla="*/ 1075143 h 1860882"/>
                  <a:gd name="connsiteX30" fmla="*/ 0 w 746519"/>
                  <a:gd name="connsiteY30" fmla="*/ 1037915 h 1860882"/>
                  <a:gd name="connsiteX31" fmla="*/ 2533 w 746519"/>
                  <a:gd name="connsiteY31" fmla="*/ 822418 h 1860882"/>
                  <a:gd name="connsiteX32" fmla="*/ 2533 w 746519"/>
                  <a:gd name="connsiteY32" fmla="*/ 578527 h 1860882"/>
                  <a:gd name="connsiteX33" fmla="*/ 2533 w 746519"/>
                  <a:gd name="connsiteY33" fmla="*/ 513688 h 1860882"/>
                  <a:gd name="connsiteX34" fmla="*/ 167038 w 746519"/>
                  <a:gd name="connsiteY34" fmla="*/ 361990 h 1860882"/>
                  <a:gd name="connsiteX35" fmla="*/ 366931 w 746519"/>
                  <a:gd name="connsiteY35" fmla="*/ 0 h 1860882"/>
                  <a:gd name="connsiteX36" fmla="*/ 526414 w 746519"/>
                  <a:gd name="connsiteY36" fmla="*/ 159483 h 1860882"/>
                  <a:gd name="connsiteX37" fmla="*/ 366931 w 746519"/>
                  <a:gd name="connsiteY37" fmla="*/ 318966 h 1860882"/>
                  <a:gd name="connsiteX38" fmla="*/ 207448 w 746519"/>
                  <a:gd name="connsiteY38" fmla="*/ 159483 h 1860882"/>
                  <a:gd name="connsiteX39" fmla="*/ 366931 w 746519"/>
                  <a:gd name="connsiteY39" fmla="*/ 0 h 1860882"/>
                  <a:gd name="connsiteX0" fmla="*/ 167038 w 746519"/>
                  <a:gd name="connsiteY0" fmla="*/ 361990 h 1860882"/>
                  <a:gd name="connsiteX1" fmla="*/ 576950 w 746519"/>
                  <a:gd name="connsiteY1" fmla="*/ 361990 h 1860882"/>
                  <a:gd name="connsiteX2" fmla="*/ 741454 w 746519"/>
                  <a:gd name="connsiteY2" fmla="*/ 513688 h 1860882"/>
                  <a:gd name="connsiteX3" fmla="*/ 741454 w 746519"/>
                  <a:gd name="connsiteY3" fmla="*/ 578527 h 1860882"/>
                  <a:gd name="connsiteX4" fmla="*/ 741454 w 746519"/>
                  <a:gd name="connsiteY4" fmla="*/ 822418 h 1860882"/>
                  <a:gd name="connsiteX5" fmla="*/ 745300 w 746519"/>
                  <a:gd name="connsiteY5" fmla="*/ 978412 h 1860882"/>
                  <a:gd name="connsiteX6" fmla="*/ 746519 w 746519"/>
                  <a:gd name="connsiteY6" fmla="*/ 1035341 h 1860882"/>
                  <a:gd name="connsiteX7" fmla="*/ 640485 w 746519"/>
                  <a:gd name="connsiteY7" fmla="*/ 978412 h 1860882"/>
                  <a:gd name="connsiteX8" fmla="*/ 641143 w 746519"/>
                  <a:gd name="connsiteY8" fmla="*/ 719987 h 1860882"/>
                  <a:gd name="connsiteX9" fmla="*/ 607021 w 746519"/>
                  <a:gd name="connsiteY9" fmla="*/ 688522 h 1860882"/>
                  <a:gd name="connsiteX10" fmla="*/ 572899 w 746519"/>
                  <a:gd name="connsiteY10" fmla="*/ 719987 h 1860882"/>
                  <a:gd name="connsiteX11" fmla="*/ 573503 w 746519"/>
                  <a:gd name="connsiteY11" fmla="*/ 1788305 h 1860882"/>
                  <a:gd name="connsiteX12" fmla="*/ 494799 w 746519"/>
                  <a:gd name="connsiteY12" fmla="*/ 1860882 h 1860882"/>
                  <a:gd name="connsiteX13" fmla="*/ 494800 w 746519"/>
                  <a:gd name="connsiteY13" fmla="*/ 1860881 h 1860882"/>
                  <a:gd name="connsiteX14" fmla="*/ 416097 w 746519"/>
                  <a:gd name="connsiteY14" fmla="*/ 1788305 h 1860882"/>
                  <a:gd name="connsiteX15" fmla="*/ 413651 w 746519"/>
                  <a:gd name="connsiteY15" fmla="*/ 1183095 h 1860882"/>
                  <a:gd name="connsiteX16" fmla="*/ 390975 w 746519"/>
                  <a:gd name="connsiteY16" fmla="*/ 1162184 h 1860882"/>
                  <a:gd name="connsiteX17" fmla="*/ 353012 w 746519"/>
                  <a:gd name="connsiteY17" fmla="*/ 1162184 h 1860882"/>
                  <a:gd name="connsiteX18" fmla="*/ 330336 w 746519"/>
                  <a:gd name="connsiteY18" fmla="*/ 1183095 h 1860882"/>
                  <a:gd name="connsiteX19" fmla="*/ 330336 w 746519"/>
                  <a:gd name="connsiteY19" fmla="*/ 1204005 h 1860882"/>
                  <a:gd name="connsiteX20" fmla="*/ 333806 w 746519"/>
                  <a:gd name="connsiteY20" fmla="*/ 1788305 h 1860882"/>
                  <a:gd name="connsiteX21" fmla="*/ 255103 w 746519"/>
                  <a:gd name="connsiteY21" fmla="*/ 1860882 h 1860882"/>
                  <a:gd name="connsiteX22" fmla="*/ 255103 w 746519"/>
                  <a:gd name="connsiteY22" fmla="*/ 1860881 h 1860882"/>
                  <a:gd name="connsiteX23" fmla="*/ 176400 w 746519"/>
                  <a:gd name="connsiteY23" fmla="*/ 1788305 h 1860882"/>
                  <a:gd name="connsiteX24" fmla="*/ 176134 w 746519"/>
                  <a:gd name="connsiteY24" fmla="*/ 724482 h 1860882"/>
                  <a:gd name="connsiteX25" fmla="*/ 137138 w 746519"/>
                  <a:gd name="connsiteY25" fmla="*/ 688522 h 1860882"/>
                  <a:gd name="connsiteX26" fmla="*/ 98142 w 746519"/>
                  <a:gd name="connsiteY26" fmla="*/ 724482 h 1860882"/>
                  <a:gd name="connsiteX27" fmla="*/ 102557 w 746519"/>
                  <a:gd name="connsiteY27" fmla="*/ 1043065 h 1860882"/>
                  <a:gd name="connsiteX28" fmla="*/ 53811 w 746519"/>
                  <a:gd name="connsiteY28" fmla="*/ 1075143 h 1860882"/>
                  <a:gd name="connsiteX29" fmla="*/ 0 w 746519"/>
                  <a:gd name="connsiteY29" fmla="*/ 1037915 h 1860882"/>
                  <a:gd name="connsiteX30" fmla="*/ 2533 w 746519"/>
                  <a:gd name="connsiteY30" fmla="*/ 822418 h 1860882"/>
                  <a:gd name="connsiteX31" fmla="*/ 2533 w 746519"/>
                  <a:gd name="connsiteY31" fmla="*/ 578527 h 1860882"/>
                  <a:gd name="connsiteX32" fmla="*/ 2533 w 746519"/>
                  <a:gd name="connsiteY32" fmla="*/ 513688 h 1860882"/>
                  <a:gd name="connsiteX33" fmla="*/ 167038 w 746519"/>
                  <a:gd name="connsiteY33" fmla="*/ 361990 h 1860882"/>
                  <a:gd name="connsiteX34" fmla="*/ 366931 w 746519"/>
                  <a:gd name="connsiteY34" fmla="*/ 0 h 1860882"/>
                  <a:gd name="connsiteX35" fmla="*/ 526414 w 746519"/>
                  <a:gd name="connsiteY35" fmla="*/ 159483 h 1860882"/>
                  <a:gd name="connsiteX36" fmla="*/ 366931 w 746519"/>
                  <a:gd name="connsiteY36" fmla="*/ 318966 h 1860882"/>
                  <a:gd name="connsiteX37" fmla="*/ 207448 w 746519"/>
                  <a:gd name="connsiteY37" fmla="*/ 159483 h 1860882"/>
                  <a:gd name="connsiteX38" fmla="*/ 366931 w 746519"/>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300 w 747955"/>
                  <a:gd name="connsiteY5" fmla="*/ 978412 h 1860882"/>
                  <a:gd name="connsiteX6" fmla="*/ 747955 w 747955"/>
                  <a:gd name="connsiteY6" fmla="*/ 1012368 h 1860882"/>
                  <a:gd name="connsiteX7" fmla="*/ 640485 w 747955"/>
                  <a:gd name="connsiteY7" fmla="*/ 978412 h 1860882"/>
                  <a:gd name="connsiteX8" fmla="*/ 641143 w 747955"/>
                  <a:gd name="connsiteY8" fmla="*/ 719987 h 1860882"/>
                  <a:gd name="connsiteX9" fmla="*/ 607021 w 747955"/>
                  <a:gd name="connsiteY9" fmla="*/ 688522 h 1860882"/>
                  <a:gd name="connsiteX10" fmla="*/ 572899 w 747955"/>
                  <a:gd name="connsiteY10" fmla="*/ 719987 h 1860882"/>
                  <a:gd name="connsiteX11" fmla="*/ 573503 w 747955"/>
                  <a:gd name="connsiteY11" fmla="*/ 1788305 h 1860882"/>
                  <a:gd name="connsiteX12" fmla="*/ 494799 w 747955"/>
                  <a:gd name="connsiteY12" fmla="*/ 1860882 h 1860882"/>
                  <a:gd name="connsiteX13" fmla="*/ 494800 w 747955"/>
                  <a:gd name="connsiteY13" fmla="*/ 1860881 h 1860882"/>
                  <a:gd name="connsiteX14" fmla="*/ 416097 w 747955"/>
                  <a:gd name="connsiteY14" fmla="*/ 1788305 h 1860882"/>
                  <a:gd name="connsiteX15" fmla="*/ 413651 w 747955"/>
                  <a:gd name="connsiteY15" fmla="*/ 1183095 h 1860882"/>
                  <a:gd name="connsiteX16" fmla="*/ 390975 w 747955"/>
                  <a:gd name="connsiteY16" fmla="*/ 1162184 h 1860882"/>
                  <a:gd name="connsiteX17" fmla="*/ 353012 w 747955"/>
                  <a:gd name="connsiteY17" fmla="*/ 1162184 h 1860882"/>
                  <a:gd name="connsiteX18" fmla="*/ 330336 w 747955"/>
                  <a:gd name="connsiteY18" fmla="*/ 1183095 h 1860882"/>
                  <a:gd name="connsiteX19" fmla="*/ 330336 w 747955"/>
                  <a:gd name="connsiteY19" fmla="*/ 1204005 h 1860882"/>
                  <a:gd name="connsiteX20" fmla="*/ 333806 w 747955"/>
                  <a:gd name="connsiteY20" fmla="*/ 1788305 h 1860882"/>
                  <a:gd name="connsiteX21" fmla="*/ 255103 w 747955"/>
                  <a:gd name="connsiteY21" fmla="*/ 1860882 h 1860882"/>
                  <a:gd name="connsiteX22" fmla="*/ 255103 w 747955"/>
                  <a:gd name="connsiteY22" fmla="*/ 1860881 h 1860882"/>
                  <a:gd name="connsiteX23" fmla="*/ 176400 w 747955"/>
                  <a:gd name="connsiteY23" fmla="*/ 1788305 h 1860882"/>
                  <a:gd name="connsiteX24" fmla="*/ 176134 w 747955"/>
                  <a:gd name="connsiteY24" fmla="*/ 724482 h 1860882"/>
                  <a:gd name="connsiteX25" fmla="*/ 137138 w 747955"/>
                  <a:gd name="connsiteY25" fmla="*/ 688522 h 1860882"/>
                  <a:gd name="connsiteX26" fmla="*/ 98142 w 747955"/>
                  <a:gd name="connsiteY26" fmla="*/ 724482 h 1860882"/>
                  <a:gd name="connsiteX27" fmla="*/ 102557 w 747955"/>
                  <a:gd name="connsiteY27" fmla="*/ 1043065 h 1860882"/>
                  <a:gd name="connsiteX28" fmla="*/ 53811 w 747955"/>
                  <a:gd name="connsiteY28" fmla="*/ 1075143 h 1860882"/>
                  <a:gd name="connsiteX29" fmla="*/ 0 w 747955"/>
                  <a:gd name="connsiteY29" fmla="*/ 1037915 h 1860882"/>
                  <a:gd name="connsiteX30" fmla="*/ 2533 w 747955"/>
                  <a:gd name="connsiteY30" fmla="*/ 822418 h 1860882"/>
                  <a:gd name="connsiteX31" fmla="*/ 2533 w 747955"/>
                  <a:gd name="connsiteY31" fmla="*/ 578527 h 1860882"/>
                  <a:gd name="connsiteX32" fmla="*/ 2533 w 747955"/>
                  <a:gd name="connsiteY32" fmla="*/ 513688 h 1860882"/>
                  <a:gd name="connsiteX33" fmla="*/ 167038 w 747955"/>
                  <a:gd name="connsiteY33" fmla="*/ 361990 h 1860882"/>
                  <a:gd name="connsiteX34" fmla="*/ 366931 w 747955"/>
                  <a:gd name="connsiteY34" fmla="*/ 0 h 1860882"/>
                  <a:gd name="connsiteX35" fmla="*/ 526414 w 747955"/>
                  <a:gd name="connsiteY35" fmla="*/ 159483 h 1860882"/>
                  <a:gd name="connsiteX36" fmla="*/ 366931 w 747955"/>
                  <a:gd name="connsiteY36" fmla="*/ 318966 h 1860882"/>
                  <a:gd name="connsiteX37" fmla="*/ 207448 w 747955"/>
                  <a:gd name="connsiteY37" fmla="*/ 159483 h 1860882"/>
                  <a:gd name="connsiteX38" fmla="*/ 366931 w 747955"/>
                  <a:gd name="connsiteY38"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40485 w 747955"/>
                  <a:gd name="connsiteY8" fmla="*/ 978412 h 1860882"/>
                  <a:gd name="connsiteX9" fmla="*/ 638855 w 747955"/>
                  <a:gd name="connsiteY9" fmla="*/ 906807 h 1860882"/>
                  <a:gd name="connsiteX10" fmla="*/ 641143 w 747955"/>
                  <a:gd name="connsiteY10" fmla="*/ 719987 h 1860882"/>
                  <a:gd name="connsiteX11" fmla="*/ 607021 w 747955"/>
                  <a:gd name="connsiteY11" fmla="*/ 688522 h 1860882"/>
                  <a:gd name="connsiteX12" fmla="*/ 572899 w 747955"/>
                  <a:gd name="connsiteY12" fmla="*/ 719987 h 1860882"/>
                  <a:gd name="connsiteX13" fmla="*/ 573503 w 747955"/>
                  <a:gd name="connsiteY13" fmla="*/ 1788305 h 1860882"/>
                  <a:gd name="connsiteX14" fmla="*/ 494799 w 747955"/>
                  <a:gd name="connsiteY14" fmla="*/ 1860882 h 1860882"/>
                  <a:gd name="connsiteX15" fmla="*/ 494800 w 747955"/>
                  <a:gd name="connsiteY15" fmla="*/ 1860881 h 1860882"/>
                  <a:gd name="connsiteX16" fmla="*/ 416097 w 747955"/>
                  <a:gd name="connsiteY16" fmla="*/ 1788305 h 1860882"/>
                  <a:gd name="connsiteX17" fmla="*/ 413651 w 747955"/>
                  <a:gd name="connsiteY17" fmla="*/ 1183095 h 1860882"/>
                  <a:gd name="connsiteX18" fmla="*/ 390975 w 747955"/>
                  <a:gd name="connsiteY18" fmla="*/ 1162184 h 1860882"/>
                  <a:gd name="connsiteX19" fmla="*/ 353012 w 747955"/>
                  <a:gd name="connsiteY19" fmla="*/ 1162184 h 1860882"/>
                  <a:gd name="connsiteX20" fmla="*/ 330336 w 747955"/>
                  <a:gd name="connsiteY20" fmla="*/ 1183095 h 1860882"/>
                  <a:gd name="connsiteX21" fmla="*/ 330336 w 747955"/>
                  <a:gd name="connsiteY21" fmla="*/ 1204005 h 1860882"/>
                  <a:gd name="connsiteX22" fmla="*/ 333806 w 747955"/>
                  <a:gd name="connsiteY22" fmla="*/ 1788305 h 1860882"/>
                  <a:gd name="connsiteX23" fmla="*/ 255103 w 747955"/>
                  <a:gd name="connsiteY23" fmla="*/ 1860882 h 1860882"/>
                  <a:gd name="connsiteX24" fmla="*/ 255103 w 747955"/>
                  <a:gd name="connsiteY24" fmla="*/ 1860881 h 1860882"/>
                  <a:gd name="connsiteX25" fmla="*/ 176400 w 747955"/>
                  <a:gd name="connsiteY25" fmla="*/ 1788305 h 1860882"/>
                  <a:gd name="connsiteX26" fmla="*/ 176134 w 747955"/>
                  <a:gd name="connsiteY26" fmla="*/ 724482 h 1860882"/>
                  <a:gd name="connsiteX27" fmla="*/ 137138 w 747955"/>
                  <a:gd name="connsiteY27" fmla="*/ 688522 h 1860882"/>
                  <a:gd name="connsiteX28" fmla="*/ 98142 w 747955"/>
                  <a:gd name="connsiteY28" fmla="*/ 724482 h 1860882"/>
                  <a:gd name="connsiteX29" fmla="*/ 102557 w 747955"/>
                  <a:gd name="connsiteY29" fmla="*/ 1043065 h 1860882"/>
                  <a:gd name="connsiteX30" fmla="*/ 53811 w 747955"/>
                  <a:gd name="connsiteY30" fmla="*/ 1075143 h 1860882"/>
                  <a:gd name="connsiteX31" fmla="*/ 0 w 747955"/>
                  <a:gd name="connsiteY31" fmla="*/ 1037915 h 1860882"/>
                  <a:gd name="connsiteX32" fmla="*/ 2533 w 747955"/>
                  <a:gd name="connsiteY32" fmla="*/ 822418 h 1860882"/>
                  <a:gd name="connsiteX33" fmla="*/ 2533 w 747955"/>
                  <a:gd name="connsiteY33" fmla="*/ 578527 h 1860882"/>
                  <a:gd name="connsiteX34" fmla="*/ 2533 w 747955"/>
                  <a:gd name="connsiteY34" fmla="*/ 513688 h 1860882"/>
                  <a:gd name="connsiteX35" fmla="*/ 167038 w 747955"/>
                  <a:gd name="connsiteY35" fmla="*/ 361990 h 1860882"/>
                  <a:gd name="connsiteX36" fmla="*/ 366931 w 747955"/>
                  <a:gd name="connsiteY36" fmla="*/ 0 h 1860882"/>
                  <a:gd name="connsiteX37" fmla="*/ 526414 w 747955"/>
                  <a:gd name="connsiteY37" fmla="*/ 159483 h 1860882"/>
                  <a:gd name="connsiteX38" fmla="*/ 366931 w 747955"/>
                  <a:gd name="connsiteY38" fmla="*/ 318966 h 1860882"/>
                  <a:gd name="connsiteX39" fmla="*/ 207448 w 747955"/>
                  <a:gd name="connsiteY39" fmla="*/ 159483 h 1860882"/>
                  <a:gd name="connsiteX40" fmla="*/ 366931 w 747955"/>
                  <a:gd name="connsiteY40" fmla="*/ 0 h 1860882"/>
                  <a:gd name="connsiteX0" fmla="*/ 167038 w 747955"/>
                  <a:gd name="connsiteY0" fmla="*/ 361990 h 1860882"/>
                  <a:gd name="connsiteX1" fmla="*/ 576950 w 747955"/>
                  <a:gd name="connsiteY1" fmla="*/ 361990 h 1860882"/>
                  <a:gd name="connsiteX2" fmla="*/ 741454 w 747955"/>
                  <a:gd name="connsiteY2" fmla="*/ 513688 h 1860882"/>
                  <a:gd name="connsiteX3" fmla="*/ 741454 w 747955"/>
                  <a:gd name="connsiteY3" fmla="*/ 578527 h 1860882"/>
                  <a:gd name="connsiteX4" fmla="*/ 741454 w 747955"/>
                  <a:gd name="connsiteY4" fmla="*/ 822418 h 1860882"/>
                  <a:gd name="connsiteX5" fmla="*/ 745871 w 747955"/>
                  <a:gd name="connsiteY5" fmla="*/ 919037 h 1860882"/>
                  <a:gd name="connsiteX6" fmla="*/ 745300 w 747955"/>
                  <a:gd name="connsiteY6" fmla="*/ 978412 h 1860882"/>
                  <a:gd name="connsiteX7" fmla="*/ 747955 w 747955"/>
                  <a:gd name="connsiteY7" fmla="*/ 1012368 h 1860882"/>
                  <a:gd name="connsiteX8" fmla="*/ 638855 w 747955"/>
                  <a:gd name="connsiteY8" fmla="*/ 906807 h 1860882"/>
                  <a:gd name="connsiteX9" fmla="*/ 641143 w 747955"/>
                  <a:gd name="connsiteY9" fmla="*/ 719987 h 1860882"/>
                  <a:gd name="connsiteX10" fmla="*/ 607021 w 747955"/>
                  <a:gd name="connsiteY10" fmla="*/ 688522 h 1860882"/>
                  <a:gd name="connsiteX11" fmla="*/ 572899 w 747955"/>
                  <a:gd name="connsiteY11" fmla="*/ 719987 h 1860882"/>
                  <a:gd name="connsiteX12" fmla="*/ 573503 w 747955"/>
                  <a:gd name="connsiteY12" fmla="*/ 1788305 h 1860882"/>
                  <a:gd name="connsiteX13" fmla="*/ 494799 w 747955"/>
                  <a:gd name="connsiteY13" fmla="*/ 1860882 h 1860882"/>
                  <a:gd name="connsiteX14" fmla="*/ 494800 w 747955"/>
                  <a:gd name="connsiteY14" fmla="*/ 1860881 h 1860882"/>
                  <a:gd name="connsiteX15" fmla="*/ 416097 w 747955"/>
                  <a:gd name="connsiteY15" fmla="*/ 1788305 h 1860882"/>
                  <a:gd name="connsiteX16" fmla="*/ 413651 w 747955"/>
                  <a:gd name="connsiteY16" fmla="*/ 1183095 h 1860882"/>
                  <a:gd name="connsiteX17" fmla="*/ 390975 w 747955"/>
                  <a:gd name="connsiteY17" fmla="*/ 1162184 h 1860882"/>
                  <a:gd name="connsiteX18" fmla="*/ 353012 w 747955"/>
                  <a:gd name="connsiteY18" fmla="*/ 1162184 h 1860882"/>
                  <a:gd name="connsiteX19" fmla="*/ 330336 w 747955"/>
                  <a:gd name="connsiteY19" fmla="*/ 1183095 h 1860882"/>
                  <a:gd name="connsiteX20" fmla="*/ 330336 w 747955"/>
                  <a:gd name="connsiteY20" fmla="*/ 1204005 h 1860882"/>
                  <a:gd name="connsiteX21" fmla="*/ 333806 w 747955"/>
                  <a:gd name="connsiteY21" fmla="*/ 1788305 h 1860882"/>
                  <a:gd name="connsiteX22" fmla="*/ 255103 w 747955"/>
                  <a:gd name="connsiteY22" fmla="*/ 1860882 h 1860882"/>
                  <a:gd name="connsiteX23" fmla="*/ 255103 w 747955"/>
                  <a:gd name="connsiteY23" fmla="*/ 1860881 h 1860882"/>
                  <a:gd name="connsiteX24" fmla="*/ 176400 w 747955"/>
                  <a:gd name="connsiteY24" fmla="*/ 1788305 h 1860882"/>
                  <a:gd name="connsiteX25" fmla="*/ 176134 w 747955"/>
                  <a:gd name="connsiteY25" fmla="*/ 724482 h 1860882"/>
                  <a:gd name="connsiteX26" fmla="*/ 137138 w 747955"/>
                  <a:gd name="connsiteY26" fmla="*/ 688522 h 1860882"/>
                  <a:gd name="connsiteX27" fmla="*/ 98142 w 747955"/>
                  <a:gd name="connsiteY27" fmla="*/ 724482 h 1860882"/>
                  <a:gd name="connsiteX28" fmla="*/ 102557 w 747955"/>
                  <a:gd name="connsiteY28" fmla="*/ 1043065 h 1860882"/>
                  <a:gd name="connsiteX29" fmla="*/ 53811 w 747955"/>
                  <a:gd name="connsiteY29" fmla="*/ 1075143 h 1860882"/>
                  <a:gd name="connsiteX30" fmla="*/ 0 w 747955"/>
                  <a:gd name="connsiteY30" fmla="*/ 1037915 h 1860882"/>
                  <a:gd name="connsiteX31" fmla="*/ 2533 w 747955"/>
                  <a:gd name="connsiteY31" fmla="*/ 822418 h 1860882"/>
                  <a:gd name="connsiteX32" fmla="*/ 2533 w 747955"/>
                  <a:gd name="connsiteY32" fmla="*/ 578527 h 1860882"/>
                  <a:gd name="connsiteX33" fmla="*/ 2533 w 747955"/>
                  <a:gd name="connsiteY33" fmla="*/ 513688 h 1860882"/>
                  <a:gd name="connsiteX34" fmla="*/ 167038 w 747955"/>
                  <a:gd name="connsiteY34" fmla="*/ 361990 h 1860882"/>
                  <a:gd name="connsiteX35" fmla="*/ 366931 w 747955"/>
                  <a:gd name="connsiteY35" fmla="*/ 0 h 1860882"/>
                  <a:gd name="connsiteX36" fmla="*/ 526414 w 747955"/>
                  <a:gd name="connsiteY36" fmla="*/ 159483 h 1860882"/>
                  <a:gd name="connsiteX37" fmla="*/ 366931 w 747955"/>
                  <a:gd name="connsiteY37" fmla="*/ 318966 h 1860882"/>
                  <a:gd name="connsiteX38" fmla="*/ 207448 w 747955"/>
                  <a:gd name="connsiteY38" fmla="*/ 159483 h 1860882"/>
                  <a:gd name="connsiteX39" fmla="*/ 366931 w 747955"/>
                  <a:gd name="connsiteY39" fmla="*/ 0 h 1860882"/>
                  <a:gd name="connsiteX0" fmla="*/ 167038 w 755595"/>
                  <a:gd name="connsiteY0" fmla="*/ 361990 h 1860882"/>
                  <a:gd name="connsiteX1" fmla="*/ 576950 w 755595"/>
                  <a:gd name="connsiteY1" fmla="*/ 361990 h 1860882"/>
                  <a:gd name="connsiteX2" fmla="*/ 741454 w 755595"/>
                  <a:gd name="connsiteY2" fmla="*/ 513688 h 1860882"/>
                  <a:gd name="connsiteX3" fmla="*/ 741454 w 755595"/>
                  <a:gd name="connsiteY3" fmla="*/ 578527 h 1860882"/>
                  <a:gd name="connsiteX4" fmla="*/ 741454 w 755595"/>
                  <a:gd name="connsiteY4" fmla="*/ 822418 h 1860882"/>
                  <a:gd name="connsiteX5" fmla="*/ 745871 w 755595"/>
                  <a:gd name="connsiteY5" fmla="*/ 919037 h 1860882"/>
                  <a:gd name="connsiteX6" fmla="*/ 747955 w 755595"/>
                  <a:gd name="connsiteY6" fmla="*/ 1012368 h 1860882"/>
                  <a:gd name="connsiteX7" fmla="*/ 638855 w 755595"/>
                  <a:gd name="connsiteY7" fmla="*/ 906807 h 1860882"/>
                  <a:gd name="connsiteX8" fmla="*/ 641143 w 755595"/>
                  <a:gd name="connsiteY8" fmla="*/ 719987 h 1860882"/>
                  <a:gd name="connsiteX9" fmla="*/ 607021 w 755595"/>
                  <a:gd name="connsiteY9" fmla="*/ 688522 h 1860882"/>
                  <a:gd name="connsiteX10" fmla="*/ 572899 w 755595"/>
                  <a:gd name="connsiteY10" fmla="*/ 719987 h 1860882"/>
                  <a:gd name="connsiteX11" fmla="*/ 573503 w 755595"/>
                  <a:gd name="connsiteY11" fmla="*/ 1788305 h 1860882"/>
                  <a:gd name="connsiteX12" fmla="*/ 494799 w 755595"/>
                  <a:gd name="connsiteY12" fmla="*/ 1860882 h 1860882"/>
                  <a:gd name="connsiteX13" fmla="*/ 494800 w 755595"/>
                  <a:gd name="connsiteY13" fmla="*/ 1860881 h 1860882"/>
                  <a:gd name="connsiteX14" fmla="*/ 416097 w 755595"/>
                  <a:gd name="connsiteY14" fmla="*/ 1788305 h 1860882"/>
                  <a:gd name="connsiteX15" fmla="*/ 413651 w 755595"/>
                  <a:gd name="connsiteY15" fmla="*/ 1183095 h 1860882"/>
                  <a:gd name="connsiteX16" fmla="*/ 390975 w 755595"/>
                  <a:gd name="connsiteY16" fmla="*/ 1162184 h 1860882"/>
                  <a:gd name="connsiteX17" fmla="*/ 353012 w 755595"/>
                  <a:gd name="connsiteY17" fmla="*/ 1162184 h 1860882"/>
                  <a:gd name="connsiteX18" fmla="*/ 330336 w 755595"/>
                  <a:gd name="connsiteY18" fmla="*/ 1183095 h 1860882"/>
                  <a:gd name="connsiteX19" fmla="*/ 330336 w 755595"/>
                  <a:gd name="connsiteY19" fmla="*/ 1204005 h 1860882"/>
                  <a:gd name="connsiteX20" fmla="*/ 333806 w 755595"/>
                  <a:gd name="connsiteY20" fmla="*/ 1788305 h 1860882"/>
                  <a:gd name="connsiteX21" fmla="*/ 255103 w 755595"/>
                  <a:gd name="connsiteY21" fmla="*/ 1860882 h 1860882"/>
                  <a:gd name="connsiteX22" fmla="*/ 255103 w 755595"/>
                  <a:gd name="connsiteY22" fmla="*/ 1860881 h 1860882"/>
                  <a:gd name="connsiteX23" fmla="*/ 176400 w 755595"/>
                  <a:gd name="connsiteY23" fmla="*/ 1788305 h 1860882"/>
                  <a:gd name="connsiteX24" fmla="*/ 176134 w 755595"/>
                  <a:gd name="connsiteY24" fmla="*/ 724482 h 1860882"/>
                  <a:gd name="connsiteX25" fmla="*/ 137138 w 755595"/>
                  <a:gd name="connsiteY25" fmla="*/ 688522 h 1860882"/>
                  <a:gd name="connsiteX26" fmla="*/ 98142 w 755595"/>
                  <a:gd name="connsiteY26" fmla="*/ 724482 h 1860882"/>
                  <a:gd name="connsiteX27" fmla="*/ 102557 w 755595"/>
                  <a:gd name="connsiteY27" fmla="*/ 1043065 h 1860882"/>
                  <a:gd name="connsiteX28" fmla="*/ 53811 w 755595"/>
                  <a:gd name="connsiteY28" fmla="*/ 1075143 h 1860882"/>
                  <a:gd name="connsiteX29" fmla="*/ 0 w 755595"/>
                  <a:gd name="connsiteY29" fmla="*/ 1037915 h 1860882"/>
                  <a:gd name="connsiteX30" fmla="*/ 2533 w 755595"/>
                  <a:gd name="connsiteY30" fmla="*/ 822418 h 1860882"/>
                  <a:gd name="connsiteX31" fmla="*/ 2533 w 755595"/>
                  <a:gd name="connsiteY31" fmla="*/ 578527 h 1860882"/>
                  <a:gd name="connsiteX32" fmla="*/ 2533 w 755595"/>
                  <a:gd name="connsiteY32" fmla="*/ 513688 h 1860882"/>
                  <a:gd name="connsiteX33" fmla="*/ 167038 w 755595"/>
                  <a:gd name="connsiteY33" fmla="*/ 361990 h 1860882"/>
                  <a:gd name="connsiteX34" fmla="*/ 366931 w 755595"/>
                  <a:gd name="connsiteY34" fmla="*/ 0 h 1860882"/>
                  <a:gd name="connsiteX35" fmla="*/ 526414 w 755595"/>
                  <a:gd name="connsiteY35" fmla="*/ 159483 h 1860882"/>
                  <a:gd name="connsiteX36" fmla="*/ 366931 w 755595"/>
                  <a:gd name="connsiteY36" fmla="*/ 318966 h 1860882"/>
                  <a:gd name="connsiteX37" fmla="*/ 207448 w 755595"/>
                  <a:gd name="connsiteY37" fmla="*/ 159483 h 1860882"/>
                  <a:gd name="connsiteX38" fmla="*/ 366931 w 755595"/>
                  <a:gd name="connsiteY38" fmla="*/ 0 h 1860882"/>
                  <a:gd name="connsiteX0" fmla="*/ 167038 w 751277"/>
                  <a:gd name="connsiteY0" fmla="*/ 361990 h 1860882"/>
                  <a:gd name="connsiteX1" fmla="*/ 576950 w 751277"/>
                  <a:gd name="connsiteY1" fmla="*/ 361990 h 1860882"/>
                  <a:gd name="connsiteX2" fmla="*/ 741454 w 751277"/>
                  <a:gd name="connsiteY2" fmla="*/ 513688 h 1860882"/>
                  <a:gd name="connsiteX3" fmla="*/ 741454 w 751277"/>
                  <a:gd name="connsiteY3" fmla="*/ 578527 h 1860882"/>
                  <a:gd name="connsiteX4" fmla="*/ 741454 w 751277"/>
                  <a:gd name="connsiteY4" fmla="*/ 822418 h 1860882"/>
                  <a:gd name="connsiteX5" fmla="*/ 745871 w 751277"/>
                  <a:gd name="connsiteY5" fmla="*/ 919037 h 1860882"/>
                  <a:gd name="connsiteX6" fmla="*/ 741840 w 751277"/>
                  <a:gd name="connsiteY6" fmla="*/ 946629 h 1860882"/>
                  <a:gd name="connsiteX7" fmla="*/ 638855 w 751277"/>
                  <a:gd name="connsiteY7" fmla="*/ 906807 h 1860882"/>
                  <a:gd name="connsiteX8" fmla="*/ 641143 w 751277"/>
                  <a:gd name="connsiteY8" fmla="*/ 719987 h 1860882"/>
                  <a:gd name="connsiteX9" fmla="*/ 607021 w 751277"/>
                  <a:gd name="connsiteY9" fmla="*/ 688522 h 1860882"/>
                  <a:gd name="connsiteX10" fmla="*/ 572899 w 751277"/>
                  <a:gd name="connsiteY10" fmla="*/ 719987 h 1860882"/>
                  <a:gd name="connsiteX11" fmla="*/ 573503 w 751277"/>
                  <a:gd name="connsiteY11" fmla="*/ 1788305 h 1860882"/>
                  <a:gd name="connsiteX12" fmla="*/ 494799 w 751277"/>
                  <a:gd name="connsiteY12" fmla="*/ 1860882 h 1860882"/>
                  <a:gd name="connsiteX13" fmla="*/ 494800 w 751277"/>
                  <a:gd name="connsiteY13" fmla="*/ 1860881 h 1860882"/>
                  <a:gd name="connsiteX14" fmla="*/ 416097 w 751277"/>
                  <a:gd name="connsiteY14" fmla="*/ 1788305 h 1860882"/>
                  <a:gd name="connsiteX15" fmla="*/ 413651 w 751277"/>
                  <a:gd name="connsiteY15" fmla="*/ 1183095 h 1860882"/>
                  <a:gd name="connsiteX16" fmla="*/ 390975 w 751277"/>
                  <a:gd name="connsiteY16" fmla="*/ 1162184 h 1860882"/>
                  <a:gd name="connsiteX17" fmla="*/ 353012 w 751277"/>
                  <a:gd name="connsiteY17" fmla="*/ 1162184 h 1860882"/>
                  <a:gd name="connsiteX18" fmla="*/ 330336 w 751277"/>
                  <a:gd name="connsiteY18" fmla="*/ 1183095 h 1860882"/>
                  <a:gd name="connsiteX19" fmla="*/ 330336 w 751277"/>
                  <a:gd name="connsiteY19" fmla="*/ 1204005 h 1860882"/>
                  <a:gd name="connsiteX20" fmla="*/ 333806 w 751277"/>
                  <a:gd name="connsiteY20" fmla="*/ 1788305 h 1860882"/>
                  <a:gd name="connsiteX21" fmla="*/ 255103 w 751277"/>
                  <a:gd name="connsiteY21" fmla="*/ 1860882 h 1860882"/>
                  <a:gd name="connsiteX22" fmla="*/ 255103 w 751277"/>
                  <a:gd name="connsiteY22" fmla="*/ 1860881 h 1860882"/>
                  <a:gd name="connsiteX23" fmla="*/ 176400 w 751277"/>
                  <a:gd name="connsiteY23" fmla="*/ 1788305 h 1860882"/>
                  <a:gd name="connsiteX24" fmla="*/ 176134 w 751277"/>
                  <a:gd name="connsiteY24" fmla="*/ 724482 h 1860882"/>
                  <a:gd name="connsiteX25" fmla="*/ 137138 w 751277"/>
                  <a:gd name="connsiteY25" fmla="*/ 688522 h 1860882"/>
                  <a:gd name="connsiteX26" fmla="*/ 98142 w 751277"/>
                  <a:gd name="connsiteY26" fmla="*/ 724482 h 1860882"/>
                  <a:gd name="connsiteX27" fmla="*/ 102557 w 751277"/>
                  <a:gd name="connsiteY27" fmla="*/ 1043065 h 1860882"/>
                  <a:gd name="connsiteX28" fmla="*/ 53811 w 751277"/>
                  <a:gd name="connsiteY28" fmla="*/ 1075143 h 1860882"/>
                  <a:gd name="connsiteX29" fmla="*/ 0 w 751277"/>
                  <a:gd name="connsiteY29" fmla="*/ 1037915 h 1860882"/>
                  <a:gd name="connsiteX30" fmla="*/ 2533 w 751277"/>
                  <a:gd name="connsiteY30" fmla="*/ 822418 h 1860882"/>
                  <a:gd name="connsiteX31" fmla="*/ 2533 w 751277"/>
                  <a:gd name="connsiteY31" fmla="*/ 578527 h 1860882"/>
                  <a:gd name="connsiteX32" fmla="*/ 2533 w 751277"/>
                  <a:gd name="connsiteY32" fmla="*/ 513688 h 1860882"/>
                  <a:gd name="connsiteX33" fmla="*/ 167038 w 751277"/>
                  <a:gd name="connsiteY33" fmla="*/ 361990 h 1860882"/>
                  <a:gd name="connsiteX34" fmla="*/ 366931 w 751277"/>
                  <a:gd name="connsiteY34" fmla="*/ 0 h 1860882"/>
                  <a:gd name="connsiteX35" fmla="*/ 526414 w 751277"/>
                  <a:gd name="connsiteY35" fmla="*/ 159483 h 1860882"/>
                  <a:gd name="connsiteX36" fmla="*/ 366931 w 751277"/>
                  <a:gd name="connsiteY36" fmla="*/ 318966 h 1860882"/>
                  <a:gd name="connsiteX37" fmla="*/ 207448 w 751277"/>
                  <a:gd name="connsiteY37" fmla="*/ 159483 h 1860882"/>
                  <a:gd name="connsiteX38" fmla="*/ 366931 w 751277"/>
                  <a:gd name="connsiteY38" fmla="*/ 0 h 1860882"/>
                  <a:gd name="connsiteX0" fmla="*/ 167038 w 747958"/>
                  <a:gd name="connsiteY0" fmla="*/ 361990 h 1860882"/>
                  <a:gd name="connsiteX1" fmla="*/ 576950 w 747958"/>
                  <a:gd name="connsiteY1" fmla="*/ 361990 h 1860882"/>
                  <a:gd name="connsiteX2" fmla="*/ 741454 w 747958"/>
                  <a:gd name="connsiteY2" fmla="*/ 513688 h 1860882"/>
                  <a:gd name="connsiteX3" fmla="*/ 741454 w 747958"/>
                  <a:gd name="connsiteY3" fmla="*/ 578527 h 1860882"/>
                  <a:gd name="connsiteX4" fmla="*/ 741454 w 747958"/>
                  <a:gd name="connsiteY4" fmla="*/ 822418 h 1860882"/>
                  <a:gd name="connsiteX5" fmla="*/ 745871 w 747958"/>
                  <a:gd name="connsiteY5" fmla="*/ 919037 h 1860882"/>
                  <a:gd name="connsiteX6" fmla="*/ 735725 w 747958"/>
                  <a:gd name="connsiteY6" fmla="*/ 946629 h 1860882"/>
                  <a:gd name="connsiteX7" fmla="*/ 638855 w 747958"/>
                  <a:gd name="connsiteY7" fmla="*/ 906807 h 1860882"/>
                  <a:gd name="connsiteX8" fmla="*/ 641143 w 747958"/>
                  <a:gd name="connsiteY8" fmla="*/ 719987 h 1860882"/>
                  <a:gd name="connsiteX9" fmla="*/ 607021 w 747958"/>
                  <a:gd name="connsiteY9" fmla="*/ 688522 h 1860882"/>
                  <a:gd name="connsiteX10" fmla="*/ 572899 w 747958"/>
                  <a:gd name="connsiteY10" fmla="*/ 719987 h 1860882"/>
                  <a:gd name="connsiteX11" fmla="*/ 573503 w 747958"/>
                  <a:gd name="connsiteY11" fmla="*/ 1788305 h 1860882"/>
                  <a:gd name="connsiteX12" fmla="*/ 494799 w 747958"/>
                  <a:gd name="connsiteY12" fmla="*/ 1860882 h 1860882"/>
                  <a:gd name="connsiteX13" fmla="*/ 494800 w 747958"/>
                  <a:gd name="connsiteY13" fmla="*/ 1860881 h 1860882"/>
                  <a:gd name="connsiteX14" fmla="*/ 416097 w 747958"/>
                  <a:gd name="connsiteY14" fmla="*/ 1788305 h 1860882"/>
                  <a:gd name="connsiteX15" fmla="*/ 413651 w 747958"/>
                  <a:gd name="connsiteY15" fmla="*/ 1183095 h 1860882"/>
                  <a:gd name="connsiteX16" fmla="*/ 390975 w 747958"/>
                  <a:gd name="connsiteY16" fmla="*/ 1162184 h 1860882"/>
                  <a:gd name="connsiteX17" fmla="*/ 353012 w 747958"/>
                  <a:gd name="connsiteY17" fmla="*/ 1162184 h 1860882"/>
                  <a:gd name="connsiteX18" fmla="*/ 330336 w 747958"/>
                  <a:gd name="connsiteY18" fmla="*/ 1183095 h 1860882"/>
                  <a:gd name="connsiteX19" fmla="*/ 330336 w 747958"/>
                  <a:gd name="connsiteY19" fmla="*/ 1204005 h 1860882"/>
                  <a:gd name="connsiteX20" fmla="*/ 333806 w 747958"/>
                  <a:gd name="connsiteY20" fmla="*/ 1788305 h 1860882"/>
                  <a:gd name="connsiteX21" fmla="*/ 255103 w 747958"/>
                  <a:gd name="connsiteY21" fmla="*/ 1860882 h 1860882"/>
                  <a:gd name="connsiteX22" fmla="*/ 255103 w 747958"/>
                  <a:gd name="connsiteY22" fmla="*/ 1860881 h 1860882"/>
                  <a:gd name="connsiteX23" fmla="*/ 176400 w 747958"/>
                  <a:gd name="connsiteY23" fmla="*/ 1788305 h 1860882"/>
                  <a:gd name="connsiteX24" fmla="*/ 176134 w 747958"/>
                  <a:gd name="connsiteY24" fmla="*/ 724482 h 1860882"/>
                  <a:gd name="connsiteX25" fmla="*/ 137138 w 747958"/>
                  <a:gd name="connsiteY25" fmla="*/ 688522 h 1860882"/>
                  <a:gd name="connsiteX26" fmla="*/ 98142 w 747958"/>
                  <a:gd name="connsiteY26" fmla="*/ 724482 h 1860882"/>
                  <a:gd name="connsiteX27" fmla="*/ 102557 w 747958"/>
                  <a:gd name="connsiteY27" fmla="*/ 1043065 h 1860882"/>
                  <a:gd name="connsiteX28" fmla="*/ 53811 w 747958"/>
                  <a:gd name="connsiteY28" fmla="*/ 1075143 h 1860882"/>
                  <a:gd name="connsiteX29" fmla="*/ 0 w 747958"/>
                  <a:gd name="connsiteY29" fmla="*/ 1037915 h 1860882"/>
                  <a:gd name="connsiteX30" fmla="*/ 2533 w 747958"/>
                  <a:gd name="connsiteY30" fmla="*/ 822418 h 1860882"/>
                  <a:gd name="connsiteX31" fmla="*/ 2533 w 747958"/>
                  <a:gd name="connsiteY31" fmla="*/ 578527 h 1860882"/>
                  <a:gd name="connsiteX32" fmla="*/ 2533 w 747958"/>
                  <a:gd name="connsiteY32" fmla="*/ 513688 h 1860882"/>
                  <a:gd name="connsiteX33" fmla="*/ 167038 w 747958"/>
                  <a:gd name="connsiteY33" fmla="*/ 361990 h 1860882"/>
                  <a:gd name="connsiteX34" fmla="*/ 366931 w 747958"/>
                  <a:gd name="connsiteY34" fmla="*/ 0 h 1860882"/>
                  <a:gd name="connsiteX35" fmla="*/ 526414 w 747958"/>
                  <a:gd name="connsiteY35" fmla="*/ 159483 h 1860882"/>
                  <a:gd name="connsiteX36" fmla="*/ 366931 w 747958"/>
                  <a:gd name="connsiteY36" fmla="*/ 318966 h 1860882"/>
                  <a:gd name="connsiteX37" fmla="*/ 207448 w 747958"/>
                  <a:gd name="connsiteY37" fmla="*/ 159483 h 1860882"/>
                  <a:gd name="connsiteX38" fmla="*/ 366931 w 747958"/>
                  <a:gd name="connsiteY38" fmla="*/ 0 h 1860882"/>
                  <a:gd name="connsiteX0" fmla="*/ 167038 w 746083"/>
                  <a:gd name="connsiteY0" fmla="*/ 361990 h 1860882"/>
                  <a:gd name="connsiteX1" fmla="*/ 576950 w 746083"/>
                  <a:gd name="connsiteY1" fmla="*/ 361990 h 1860882"/>
                  <a:gd name="connsiteX2" fmla="*/ 741454 w 746083"/>
                  <a:gd name="connsiteY2" fmla="*/ 513688 h 1860882"/>
                  <a:gd name="connsiteX3" fmla="*/ 741454 w 746083"/>
                  <a:gd name="connsiteY3" fmla="*/ 578527 h 1860882"/>
                  <a:gd name="connsiteX4" fmla="*/ 741454 w 746083"/>
                  <a:gd name="connsiteY4" fmla="*/ 822418 h 1860882"/>
                  <a:gd name="connsiteX5" fmla="*/ 745871 w 746083"/>
                  <a:gd name="connsiteY5" fmla="*/ 919037 h 1860882"/>
                  <a:gd name="connsiteX6" fmla="*/ 726552 w 746083"/>
                  <a:gd name="connsiteY6" fmla="*/ 937457 h 1860882"/>
                  <a:gd name="connsiteX7" fmla="*/ 638855 w 746083"/>
                  <a:gd name="connsiteY7" fmla="*/ 906807 h 1860882"/>
                  <a:gd name="connsiteX8" fmla="*/ 641143 w 746083"/>
                  <a:gd name="connsiteY8" fmla="*/ 719987 h 1860882"/>
                  <a:gd name="connsiteX9" fmla="*/ 607021 w 746083"/>
                  <a:gd name="connsiteY9" fmla="*/ 688522 h 1860882"/>
                  <a:gd name="connsiteX10" fmla="*/ 572899 w 746083"/>
                  <a:gd name="connsiteY10" fmla="*/ 719987 h 1860882"/>
                  <a:gd name="connsiteX11" fmla="*/ 573503 w 746083"/>
                  <a:gd name="connsiteY11" fmla="*/ 1788305 h 1860882"/>
                  <a:gd name="connsiteX12" fmla="*/ 494799 w 746083"/>
                  <a:gd name="connsiteY12" fmla="*/ 1860882 h 1860882"/>
                  <a:gd name="connsiteX13" fmla="*/ 494800 w 746083"/>
                  <a:gd name="connsiteY13" fmla="*/ 1860881 h 1860882"/>
                  <a:gd name="connsiteX14" fmla="*/ 416097 w 746083"/>
                  <a:gd name="connsiteY14" fmla="*/ 1788305 h 1860882"/>
                  <a:gd name="connsiteX15" fmla="*/ 413651 w 746083"/>
                  <a:gd name="connsiteY15" fmla="*/ 1183095 h 1860882"/>
                  <a:gd name="connsiteX16" fmla="*/ 390975 w 746083"/>
                  <a:gd name="connsiteY16" fmla="*/ 1162184 h 1860882"/>
                  <a:gd name="connsiteX17" fmla="*/ 353012 w 746083"/>
                  <a:gd name="connsiteY17" fmla="*/ 1162184 h 1860882"/>
                  <a:gd name="connsiteX18" fmla="*/ 330336 w 746083"/>
                  <a:gd name="connsiteY18" fmla="*/ 1183095 h 1860882"/>
                  <a:gd name="connsiteX19" fmla="*/ 330336 w 746083"/>
                  <a:gd name="connsiteY19" fmla="*/ 1204005 h 1860882"/>
                  <a:gd name="connsiteX20" fmla="*/ 333806 w 746083"/>
                  <a:gd name="connsiteY20" fmla="*/ 1788305 h 1860882"/>
                  <a:gd name="connsiteX21" fmla="*/ 255103 w 746083"/>
                  <a:gd name="connsiteY21" fmla="*/ 1860882 h 1860882"/>
                  <a:gd name="connsiteX22" fmla="*/ 255103 w 746083"/>
                  <a:gd name="connsiteY22" fmla="*/ 1860881 h 1860882"/>
                  <a:gd name="connsiteX23" fmla="*/ 176400 w 746083"/>
                  <a:gd name="connsiteY23" fmla="*/ 1788305 h 1860882"/>
                  <a:gd name="connsiteX24" fmla="*/ 176134 w 746083"/>
                  <a:gd name="connsiteY24" fmla="*/ 724482 h 1860882"/>
                  <a:gd name="connsiteX25" fmla="*/ 137138 w 746083"/>
                  <a:gd name="connsiteY25" fmla="*/ 688522 h 1860882"/>
                  <a:gd name="connsiteX26" fmla="*/ 98142 w 746083"/>
                  <a:gd name="connsiteY26" fmla="*/ 724482 h 1860882"/>
                  <a:gd name="connsiteX27" fmla="*/ 102557 w 746083"/>
                  <a:gd name="connsiteY27" fmla="*/ 1043065 h 1860882"/>
                  <a:gd name="connsiteX28" fmla="*/ 53811 w 746083"/>
                  <a:gd name="connsiteY28" fmla="*/ 1075143 h 1860882"/>
                  <a:gd name="connsiteX29" fmla="*/ 0 w 746083"/>
                  <a:gd name="connsiteY29" fmla="*/ 1037915 h 1860882"/>
                  <a:gd name="connsiteX30" fmla="*/ 2533 w 746083"/>
                  <a:gd name="connsiteY30" fmla="*/ 822418 h 1860882"/>
                  <a:gd name="connsiteX31" fmla="*/ 2533 w 746083"/>
                  <a:gd name="connsiteY31" fmla="*/ 578527 h 1860882"/>
                  <a:gd name="connsiteX32" fmla="*/ 2533 w 746083"/>
                  <a:gd name="connsiteY32" fmla="*/ 513688 h 1860882"/>
                  <a:gd name="connsiteX33" fmla="*/ 167038 w 746083"/>
                  <a:gd name="connsiteY33" fmla="*/ 361990 h 1860882"/>
                  <a:gd name="connsiteX34" fmla="*/ 366931 w 746083"/>
                  <a:gd name="connsiteY34" fmla="*/ 0 h 1860882"/>
                  <a:gd name="connsiteX35" fmla="*/ 526414 w 746083"/>
                  <a:gd name="connsiteY35" fmla="*/ 159483 h 1860882"/>
                  <a:gd name="connsiteX36" fmla="*/ 366931 w 746083"/>
                  <a:gd name="connsiteY36" fmla="*/ 318966 h 1860882"/>
                  <a:gd name="connsiteX37" fmla="*/ 207448 w 746083"/>
                  <a:gd name="connsiteY37" fmla="*/ 159483 h 1860882"/>
                  <a:gd name="connsiteX38" fmla="*/ 366931 w 746083"/>
                  <a:gd name="connsiteY38" fmla="*/ 0 h 1860882"/>
                  <a:gd name="connsiteX0" fmla="*/ 167038 w 745871"/>
                  <a:gd name="connsiteY0" fmla="*/ 361990 h 1860882"/>
                  <a:gd name="connsiteX1" fmla="*/ 576950 w 745871"/>
                  <a:gd name="connsiteY1" fmla="*/ 361990 h 1860882"/>
                  <a:gd name="connsiteX2" fmla="*/ 741454 w 745871"/>
                  <a:gd name="connsiteY2" fmla="*/ 513688 h 1860882"/>
                  <a:gd name="connsiteX3" fmla="*/ 741454 w 745871"/>
                  <a:gd name="connsiteY3" fmla="*/ 578527 h 1860882"/>
                  <a:gd name="connsiteX4" fmla="*/ 741454 w 745871"/>
                  <a:gd name="connsiteY4" fmla="*/ 822418 h 1860882"/>
                  <a:gd name="connsiteX5" fmla="*/ 745871 w 745871"/>
                  <a:gd name="connsiteY5" fmla="*/ 919037 h 1860882"/>
                  <a:gd name="connsiteX6" fmla="*/ 638855 w 745871"/>
                  <a:gd name="connsiteY6" fmla="*/ 906807 h 1860882"/>
                  <a:gd name="connsiteX7" fmla="*/ 641143 w 745871"/>
                  <a:gd name="connsiteY7" fmla="*/ 719987 h 1860882"/>
                  <a:gd name="connsiteX8" fmla="*/ 607021 w 745871"/>
                  <a:gd name="connsiteY8" fmla="*/ 688522 h 1860882"/>
                  <a:gd name="connsiteX9" fmla="*/ 572899 w 745871"/>
                  <a:gd name="connsiteY9" fmla="*/ 719987 h 1860882"/>
                  <a:gd name="connsiteX10" fmla="*/ 573503 w 745871"/>
                  <a:gd name="connsiteY10" fmla="*/ 1788305 h 1860882"/>
                  <a:gd name="connsiteX11" fmla="*/ 494799 w 745871"/>
                  <a:gd name="connsiteY11" fmla="*/ 1860882 h 1860882"/>
                  <a:gd name="connsiteX12" fmla="*/ 494800 w 745871"/>
                  <a:gd name="connsiteY12" fmla="*/ 1860881 h 1860882"/>
                  <a:gd name="connsiteX13" fmla="*/ 416097 w 745871"/>
                  <a:gd name="connsiteY13" fmla="*/ 1788305 h 1860882"/>
                  <a:gd name="connsiteX14" fmla="*/ 413651 w 745871"/>
                  <a:gd name="connsiteY14" fmla="*/ 1183095 h 1860882"/>
                  <a:gd name="connsiteX15" fmla="*/ 390975 w 745871"/>
                  <a:gd name="connsiteY15" fmla="*/ 1162184 h 1860882"/>
                  <a:gd name="connsiteX16" fmla="*/ 353012 w 745871"/>
                  <a:gd name="connsiteY16" fmla="*/ 1162184 h 1860882"/>
                  <a:gd name="connsiteX17" fmla="*/ 330336 w 745871"/>
                  <a:gd name="connsiteY17" fmla="*/ 1183095 h 1860882"/>
                  <a:gd name="connsiteX18" fmla="*/ 330336 w 745871"/>
                  <a:gd name="connsiteY18" fmla="*/ 1204005 h 1860882"/>
                  <a:gd name="connsiteX19" fmla="*/ 333806 w 745871"/>
                  <a:gd name="connsiteY19" fmla="*/ 1788305 h 1860882"/>
                  <a:gd name="connsiteX20" fmla="*/ 255103 w 745871"/>
                  <a:gd name="connsiteY20" fmla="*/ 1860882 h 1860882"/>
                  <a:gd name="connsiteX21" fmla="*/ 255103 w 745871"/>
                  <a:gd name="connsiteY21" fmla="*/ 1860881 h 1860882"/>
                  <a:gd name="connsiteX22" fmla="*/ 176400 w 745871"/>
                  <a:gd name="connsiteY22" fmla="*/ 1788305 h 1860882"/>
                  <a:gd name="connsiteX23" fmla="*/ 176134 w 745871"/>
                  <a:gd name="connsiteY23" fmla="*/ 724482 h 1860882"/>
                  <a:gd name="connsiteX24" fmla="*/ 137138 w 745871"/>
                  <a:gd name="connsiteY24" fmla="*/ 688522 h 1860882"/>
                  <a:gd name="connsiteX25" fmla="*/ 98142 w 745871"/>
                  <a:gd name="connsiteY25" fmla="*/ 724482 h 1860882"/>
                  <a:gd name="connsiteX26" fmla="*/ 102557 w 745871"/>
                  <a:gd name="connsiteY26" fmla="*/ 1043065 h 1860882"/>
                  <a:gd name="connsiteX27" fmla="*/ 53811 w 745871"/>
                  <a:gd name="connsiteY27" fmla="*/ 1075143 h 1860882"/>
                  <a:gd name="connsiteX28" fmla="*/ 0 w 745871"/>
                  <a:gd name="connsiteY28" fmla="*/ 1037915 h 1860882"/>
                  <a:gd name="connsiteX29" fmla="*/ 2533 w 745871"/>
                  <a:gd name="connsiteY29" fmla="*/ 822418 h 1860882"/>
                  <a:gd name="connsiteX30" fmla="*/ 2533 w 745871"/>
                  <a:gd name="connsiteY30" fmla="*/ 578527 h 1860882"/>
                  <a:gd name="connsiteX31" fmla="*/ 2533 w 745871"/>
                  <a:gd name="connsiteY31" fmla="*/ 513688 h 1860882"/>
                  <a:gd name="connsiteX32" fmla="*/ 167038 w 745871"/>
                  <a:gd name="connsiteY32" fmla="*/ 361990 h 1860882"/>
                  <a:gd name="connsiteX33" fmla="*/ 366931 w 745871"/>
                  <a:gd name="connsiteY33" fmla="*/ 0 h 1860882"/>
                  <a:gd name="connsiteX34" fmla="*/ 526414 w 745871"/>
                  <a:gd name="connsiteY34" fmla="*/ 159483 h 1860882"/>
                  <a:gd name="connsiteX35" fmla="*/ 366931 w 745871"/>
                  <a:gd name="connsiteY35" fmla="*/ 318966 h 1860882"/>
                  <a:gd name="connsiteX36" fmla="*/ 207448 w 745871"/>
                  <a:gd name="connsiteY36" fmla="*/ 159483 h 1860882"/>
                  <a:gd name="connsiteX37" fmla="*/ 366931 w 745871"/>
                  <a:gd name="connsiteY37" fmla="*/ 0 h 186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45871" h="1860882">
                    <a:moveTo>
                      <a:pt x="167038" y="361990"/>
                    </a:moveTo>
                    <a:lnTo>
                      <a:pt x="576950" y="361990"/>
                    </a:lnTo>
                    <a:cubicBezTo>
                      <a:pt x="667803" y="361990"/>
                      <a:pt x="741454" y="429907"/>
                      <a:pt x="741454" y="513688"/>
                    </a:cubicBezTo>
                    <a:lnTo>
                      <a:pt x="741454" y="578527"/>
                    </a:lnTo>
                    <a:lnTo>
                      <a:pt x="741454" y="822418"/>
                    </a:lnTo>
                    <a:lnTo>
                      <a:pt x="745871" y="919037"/>
                    </a:lnTo>
                    <a:cubicBezTo>
                      <a:pt x="728771" y="933102"/>
                      <a:pt x="656310" y="939982"/>
                      <a:pt x="638855" y="906807"/>
                    </a:cubicBezTo>
                    <a:cubicBezTo>
                      <a:pt x="638965" y="863736"/>
                      <a:pt x="646449" y="756368"/>
                      <a:pt x="641143" y="719987"/>
                    </a:cubicBezTo>
                    <a:cubicBezTo>
                      <a:pt x="641143" y="702609"/>
                      <a:pt x="625866" y="688522"/>
                      <a:pt x="607021" y="688522"/>
                    </a:cubicBezTo>
                    <a:cubicBezTo>
                      <a:pt x="588176" y="688522"/>
                      <a:pt x="572899" y="702609"/>
                      <a:pt x="572899" y="719987"/>
                    </a:cubicBezTo>
                    <a:cubicBezTo>
                      <a:pt x="573100" y="1076093"/>
                      <a:pt x="573855" y="1751835"/>
                      <a:pt x="573503" y="1788305"/>
                    </a:cubicBezTo>
                    <a:cubicBezTo>
                      <a:pt x="573151" y="1824776"/>
                      <a:pt x="538266" y="1860882"/>
                      <a:pt x="494799" y="1860882"/>
                    </a:cubicBezTo>
                    <a:lnTo>
                      <a:pt x="494800" y="1860881"/>
                    </a:lnTo>
                    <a:cubicBezTo>
                      <a:pt x="451333" y="1860881"/>
                      <a:pt x="416097" y="1828388"/>
                      <a:pt x="416097" y="1788305"/>
                    </a:cubicBezTo>
                    <a:cubicBezTo>
                      <a:pt x="415282" y="1586568"/>
                      <a:pt x="414466" y="1384832"/>
                      <a:pt x="413651" y="1183095"/>
                    </a:cubicBezTo>
                    <a:cubicBezTo>
                      <a:pt x="413651" y="1171546"/>
                      <a:pt x="403499" y="1162184"/>
                      <a:pt x="390975" y="1162184"/>
                    </a:cubicBezTo>
                    <a:lnTo>
                      <a:pt x="353012" y="1162184"/>
                    </a:lnTo>
                    <a:cubicBezTo>
                      <a:pt x="340488" y="1162184"/>
                      <a:pt x="330336" y="1171546"/>
                      <a:pt x="330336" y="1183095"/>
                    </a:cubicBezTo>
                    <a:lnTo>
                      <a:pt x="330336" y="1204005"/>
                    </a:lnTo>
                    <a:cubicBezTo>
                      <a:pt x="331493" y="1398772"/>
                      <a:pt x="332649" y="1593538"/>
                      <a:pt x="333806" y="1788305"/>
                    </a:cubicBezTo>
                    <a:cubicBezTo>
                      <a:pt x="333806" y="1828388"/>
                      <a:pt x="298569" y="1860882"/>
                      <a:pt x="255103" y="1860882"/>
                    </a:cubicBezTo>
                    <a:lnTo>
                      <a:pt x="255103" y="1860881"/>
                    </a:lnTo>
                    <a:cubicBezTo>
                      <a:pt x="211636" y="1860881"/>
                      <a:pt x="176400" y="1828388"/>
                      <a:pt x="176400" y="1788305"/>
                    </a:cubicBezTo>
                    <a:cubicBezTo>
                      <a:pt x="176311" y="1433697"/>
                      <a:pt x="176223" y="1079090"/>
                      <a:pt x="176134" y="724482"/>
                    </a:cubicBezTo>
                    <a:cubicBezTo>
                      <a:pt x="176134" y="704622"/>
                      <a:pt x="158675" y="688522"/>
                      <a:pt x="137138" y="688522"/>
                    </a:cubicBezTo>
                    <a:cubicBezTo>
                      <a:pt x="115601" y="688522"/>
                      <a:pt x="98142" y="704622"/>
                      <a:pt x="98142" y="724482"/>
                    </a:cubicBezTo>
                    <a:cubicBezTo>
                      <a:pt x="98769" y="885598"/>
                      <a:pt x="101929" y="881948"/>
                      <a:pt x="102557" y="1043065"/>
                    </a:cubicBezTo>
                    <a:cubicBezTo>
                      <a:pt x="102557" y="1067890"/>
                      <a:pt x="70904" y="1076001"/>
                      <a:pt x="53811" y="1075143"/>
                    </a:cubicBezTo>
                    <a:cubicBezTo>
                      <a:pt x="36718" y="1074285"/>
                      <a:pt x="0" y="1062741"/>
                      <a:pt x="0" y="1037915"/>
                    </a:cubicBezTo>
                    <a:cubicBezTo>
                      <a:pt x="844" y="966083"/>
                      <a:pt x="1689" y="894250"/>
                      <a:pt x="2533" y="822418"/>
                    </a:cubicBezTo>
                    <a:lnTo>
                      <a:pt x="2533" y="578527"/>
                    </a:lnTo>
                    <a:lnTo>
                      <a:pt x="2533" y="513688"/>
                    </a:lnTo>
                    <a:cubicBezTo>
                      <a:pt x="2533" y="429907"/>
                      <a:pt x="76184" y="361990"/>
                      <a:pt x="167038" y="361990"/>
                    </a:cubicBezTo>
                    <a:close/>
                    <a:moveTo>
                      <a:pt x="366931" y="0"/>
                    </a:moveTo>
                    <a:cubicBezTo>
                      <a:pt x="455011" y="0"/>
                      <a:pt x="526414" y="71403"/>
                      <a:pt x="526414" y="159483"/>
                    </a:cubicBezTo>
                    <a:cubicBezTo>
                      <a:pt x="526414" y="247563"/>
                      <a:pt x="455011" y="318966"/>
                      <a:pt x="366931" y="318966"/>
                    </a:cubicBezTo>
                    <a:cubicBezTo>
                      <a:pt x="278851" y="318966"/>
                      <a:pt x="207448" y="247563"/>
                      <a:pt x="207448" y="159483"/>
                    </a:cubicBezTo>
                    <a:cubicBezTo>
                      <a:pt x="207448" y="71403"/>
                      <a:pt x="278851" y="0"/>
                      <a:pt x="3669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6" tIns="44798" rIns="44798" bIns="89596" numCol="1" spcCol="0" rtlCol="0" fromWordArt="0" anchor="b" anchorCtr="0" forceAA="0" compatLnSpc="1">
                <a:prstTxWarp prst="textNoShape">
                  <a:avLst/>
                </a:prstTxWarp>
                <a:noAutofit/>
              </a:bodyPr>
              <a:lstStyle/>
              <a:p>
                <a:pPr algn="ctr" defTabSz="913466" fontAlgn="base">
                  <a:spcBef>
                    <a:spcPct val="0"/>
                  </a:spcBef>
                  <a:spcAft>
                    <a:spcPct val="0"/>
                  </a:spcAft>
                </a:pPr>
                <a:endParaRPr lang="en-US" sz="1763"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826435" y="4011406"/>
                <a:ext cx="160667" cy="70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801" name="Rectangle 25"/>
              <p:cNvSpPr/>
              <p:nvPr/>
            </p:nvSpPr>
            <p:spPr bwMode="auto">
              <a:xfrm rot="685676">
                <a:off x="-756296" y="3869132"/>
                <a:ext cx="335544" cy="232448"/>
              </a:xfrm>
              <a:custGeom>
                <a:avLst/>
                <a:gdLst>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531611 w 2953954"/>
                  <a:gd name="connsiteY25" fmla="*/ 2046352 h 2046352"/>
                  <a:gd name="connsiteX26" fmla="*/ 1621444 w 2953954"/>
                  <a:gd name="connsiteY26" fmla="*/ 1281519 h 2046352"/>
                  <a:gd name="connsiteX27" fmla="*/ 1621444 w 2953954"/>
                  <a:gd name="connsiteY27" fmla="*/ 2046352 h 2046352"/>
                  <a:gd name="connsiteX28" fmla="*/ 1531611 w 2953954"/>
                  <a:gd name="connsiteY28" fmla="*/ 2046352 h 2046352"/>
                  <a:gd name="connsiteX29" fmla="*/ 0 w 2953954"/>
                  <a:gd name="connsiteY29" fmla="*/ 0 h 2046352"/>
                  <a:gd name="connsiteX30" fmla="*/ 2947156 w 2953954"/>
                  <a:gd name="connsiteY30" fmla="*/ 0 h 2046352"/>
                  <a:gd name="connsiteX31" fmla="*/ 2953954 w 2953954"/>
                  <a:gd name="connsiteY31" fmla="*/ 363720 h 2046352"/>
                  <a:gd name="connsiteX32" fmla="*/ 2648021 w 2953954"/>
                  <a:gd name="connsiteY32" fmla="*/ 1009579 h 2046352"/>
                  <a:gd name="connsiteX33" fmla="*/ 1407293 w 2953954"/>
                  <a:gd name="connsiteY33" fmla="*/ 1009579 h 2046352"/>
                  <a:gd name="connsiteX34" fmla="*/ 1233930 w 2953954"/>
                  <a:gd name="connsiteY34" fmla="*/ 1346105 h 2046352"/>
                  <a:gd name="connsiteX35" fmla="*/ 1094561 w 2953954"/>
                  <a:gd name="connsiteY35" fmla="*/ 1305314 h 2046352"/>
                  <a:gd name="connsiteX36" fmla="*/ 815822 w 2953954"/>
                  <a:gd name="connsiteY36" fmla="*/ 2029356 h 2046352"/>
                  <a:gd name="connsiteX37" fmla="*/ 370519 w 2953954"/>
                  <a:gd name="connsiteY37" fmla="*/ 2046352 h 2046352"/>
                  <a:gd name="connsiteX38" fmla="*/ 608467 w 2953954"/>
                  <a:gd name="connsiteY38" fmla="*/ 1026575 h 2046352"/>
                  <a:gd name="connsiteX39" fmla="*/ 0 w 2953954"/>
                  <a:gd name="connsiteY39" fmla="*/ 1026575 h 2046352"/>
                  <a:gd name="connsiteX40" fmla="*/ 0 w 2953954"/>
                  <a:gd name="connsiteY4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1621444 w 2953954"/>
                  <a:gd name="connsiteY25" fmla="*/ 2046352 h 2046352"/>
                  <a:gd name="connsiteX26" fmla="*/ 1621444 w 2953954"/>
                  <a:gd name="connsiteY26" fmla="*/ 1281519 h 2046352"/>
                  <a:gd name="connsiteX27" fmla="*/ 1621444 w 2953954"/>
                  <a:gd name="connsiteY27" fmla="*/ 2046352 h 2046352"/>
                  <a:gd name="connsiteX28" fmla="*/ 0 w 2953954"/>
                  <a:gd name="connsiteY28" fmla="*/ 0 h 2046352"/>
                  <a:gd name="connsiteX29" fmla="*/ 2947156 w 2953954"/>
                  <a:gd name="connsiteY29" fmla="*/ 0 h 2046352"/>
                  <a:gd name="connsiteX30" fmla="*/ 2953954 w 2953954"/>
                  <a:gd name="connsiteY30" fmla="*/ 363720 h 2046352"/>
                  <a:gd name="connsiteX31" fmla="*/ 2648021 w 2953954"/>
                  <a:gd name="connsiteY31" fmla="*/ 1009579 h 2046352"/>
                  <a:gd name="connsiteX32" fmla="*/ 1407293 w 2953954"/>
                  <a:gd name="connsiteY32" fmla="*/ 1009579 h 2046352"/>
                  <a:gd name="connsiteX33" fmla="*/ 1233930 w 2953954"/>
                  <a:gd name="connsiteY33" fmla="*/ 1346105 h 2046352"/>
                  <a:gd name="connsiteX34" fmla="*/ 1094561 w 2953954"/>
                  <a:gd name="connsiteY34" fmla="*/ 1305314 h 2046352"/>
                  <a:gd name="connsiteX35" fmla="*/ 815822 w 2953954"/>
                  <a:gd name="connsiteY35" fmla="*/ 2029356 h 2046352"/>
                  <a:gd name="connsiteX36" fmla="*/ 370519 w 2953954"/>
                  <a:gd name="connsiteY36" fmla="*/ 2046352 h 2046352"/>
                  <a:gd name="connsiteX37" fmla="*/ 608467 w 2953954"/>
                  <a:gd name="connsiteY37" fmla="*/ 1026575 h 2046352"/>
                  <a:gd name="connsiteX38" fmla="*/ 0 w 2953954"/>
                  <a:gd name="connsiteY38" fmla="*/ 1026575 h 2046352"/>
                  <a:gd name="connsiteX39" fmla="*/ 0 w 2953954"/>
                  <a:gd name="connsiteY3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869590 w 2953954"/>
                  <a:gd name="connsiteY22" fmla="*/ 2046352 h 2046352"/>
                  <a:gd name="connsiteX23" fmla="*/ 1648639 w 2953954"/>
                  <a:gd name="connsiteY23" fmla="*/ 2046352 h 2046352"/>
                  <a:gd name="connsiteX24" fmla="*/ 1648639 w 2953954"/>
                  <a:gd name="connsiteY24" fmla="*/ 1281519 h 2046352"/>
                  <a:gd name="connsiteX25" fmla="*/ 0 w 2953954"/>
                  <a:gd name="connsiteY25" fmla="*/ 0 h 2046352"/>
                  <a:gd name="connsiteX26" fmla="*/ 2947156 w 2953954"/>
                  <a:gd name="connsiteY26" fmla="*/ 0 h 2046352"/>
                  <a:gd name="connsiteX27" fmla="*/ 2953954 w 2953954"/>
                  <a:gd name="connsiteY27" fmla="*/ 363720 h 2046352"/>
                  <a:gd name="connsiteX28" fmla="*/ 2648021 w 2953954"/>
                  <a:gd name="connsiteY28" fmla="*/ 1009579 h 2046352"/>
                  <a:gd name="connsiteX29" fmla="*/ 1407293 w 2953954"/>
                  <a:gd name="connsiteY29" fmla="*/ 1009579 h 2046352"/>
                  <a:gd name="connsiteX30" fmla="*/ 1233930 w 2953954"/>
                  <a:gd name="connsiteY30" fmla="*/ 1346105 h 2046352"/>
                  <a:gd name="connsiteX31" fmla="*/ 1094561 w 2953954"/>
                  <a:gd name="connsiteY31" fmla="*/ 1305314 h 2046352"/>
                  <a:gd name="connsiteX32" fmla="*/ 815822 w 2953954"/>
                  <a:gd name="connsiteY32" fmla="*/ 2029356 h 2046352"/>
                  <a:gd name="connsiteX33" fmla="*/ 370519 w 2953954"/>
                  <a:gd name="connsiteY33" fmla="*/ 2046352 h 2046352"/>
                  <a:gd name="connsiteX34" fmla="*/ 608467 w 2953954"/>
                  <a:gd name="connsiteY34" fmla="*/ 1026575 h 2046352"/>
                  <a:gd name="connsiteX35" fmla="*/ 0 w 2953954"/>
                  <a:gd name="connsiteY35" fmla="*/ 1026575 h 2046352"/>
                  <a:gd name="connsiteX36" fmla="*/ 0 w 2953954"/>
                  <a:gd name="connsiteY36"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2046352 h 2046352"/>
                  <a:gd name="connsiteX19" fmla="*/ 1923980 w 2953954"/>
                  <a:gd name="connsiteY19" fmla="*/ 1281519 h 2046352"/>
                  <a:gd name="connsiteX20" fmla="*/ 1648639 w 2953954"/>
                  <a:gd name="connsiteY20" fmla="*/ 1281519 h 2046352"/>
                  <a:gd name="connsiteX21" fmla="*/ 1869590 w 2953954"/>
                  <a:gd name="connsiteY21" fmla="*/ 1281519 h 2046352"/>
                  <a:gd name="connsiteX22" fmla="*/ 1648639 w 2953954"/>
                  <a:gd name="connsiteY22" fmla="*/ 2046352 h 2046352"/>
                  <a:gd name="connsiteX23" fmla="*/ 1648639 w 2953954"/>
                  <a:gd name="connsiteY23" fmla="*/ 1281519 h 2046352"/>
                  <a:gd name="connsiteX24" fmla="*/ 0 w 2953954"/>
                  <a:gd name="connsiteY24" fmla="*/ 0 h 2046352"/>
                  <a:gd name="connsiteX25" fmla="*/ 2947156 w 2953954"/>
                  <a:gd name="connsiteY25" fmla="*/ 0 h 2046352"/>
                  <a:gd name="connsiteX26" fmla="*/ 2953954 w 2953954"/>
                  <a:gd name="connsiteY26" fmla="*/ 363720 h 2046352"/>
                  <a:gd name="connsiteX27" fmla="*/ 2648021 w 2953954"/>
                  <a:gd name="connsiteY27" fmla="*/ 1009579 h 2046352"/>
                  <a:gd name="connsiteX28" fmla="*/ 1407293 w 2953954"/>
                  <a:gd name="connsiteY28" fmla="*/ 1009579 h 2046352"/>
                  <a:gd name="connsiteX29" fmla="*/ 1233930 w 2953954"/>
                  <a:gd name="connsiteY29" fmla="*/ 1346105 h 2046352"/>
                  <a:gd name="connsiteX30" fmla="*/ 1094561 w 2953954"/>
                  <a:gd name="connsiteY30" fmla="*/ 1305314 h 2046352"/>
                  <a:gd name="connsiteX31" fmla="*/ 815822 w 2953954"/>
                  <a:gd name="connsiteY31" fmla="*/ 2029356 h 2046352"/>
                  <a:gd name="connsiteX32" fmla="*/ 370519 w 2953954"/>
                  <a:gd name="connsiteY32" fmla="*/ 2046352 h 2046352"/>
                  <a:gd name="connsiteX33" fmla="*/ 608467 w 2953954"/>
                  <a:gd name="connsiteY33" fmla="*/ 1026575 h 2046352"/>
                  <a:gd name="connsiteX34" fmla="*/ 0 w 2953954"/>
                  <a:gd name="connsiteY34" fmla="*/ 1026575 h 2046352"/>
                  <a:gd name="connsiteX35" fmla="*/ 0 w 2953954"/>
                  <a:gd name="connsiteY3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2015760 w 2953954"/>
                  <a:gd name="connsiteY17" fmla="*/ 2046352 h 2046352"/>
                  <a:gd name="connsiteX18" fmla="*/ 1923980 w 2953954"/>
                  <a:gd name="connsiteY18" fmla="*/ 1281519 h 2046352"/>
                  <a:gd name="connsiteX19" fmla="*/ 1648639 w 2953954"/>
                  <a:gd name="connsiteY19" fmla="*/ 1281519 h 2046352"/>
                  <a:gd name="connsiteX20" fmla="*/ 1869590 w 2953954"/>
                  <a:gd name="connsiteY20" fmla="*/ 1281519 h 2046352"/>
                  <a:gd name="connsiteX21" fmla="*/ 1648639 w 2953954"/>
                  <a:gd name="connsiteY21" fmla="*/ 2046352 h 2046352"/>
                  <a:gd name="connsiteX22" fmla="*/ 1648639 w 2953954"/>
                  <a:gd name="connsiteY22" fmla="*/ 1281519 h 2046352"/>
                  <a:gd name="connsiteX23" fmla="*/ 0 w 2953954"/>
                  <a:gd name="connsiteY23" fmla="*/ 0 h 2046352"/>
                  <a:gd name="connsiteX24" fmla="*/ 2947156 w 2953954"/>
                  <a:gd name="connsiteY24" fmla="*/ 0 h 2046352"/>
                  <a:gd name="connsiteX25" fmla="*/ 2953954 w 2953954"/>
                  <a:gd name="connsiteY25" fmla="*/ 363720 h 2046352"/>
                  <a:gd name="connsiteX26" fmla="*/ 2648021 w 2953954"/>
                  <a:gd name="connsiteY26" fmla="*/ 1009579 h 2046352"/>
                  <a:gd name="connsiteX27" fmla="*/ 1407293 w 2953954"/>
                  <a:gd name="connsiteY27" fmla="*/ 1009579 h 2046352"/>
                  <a:gd name="connsiteX28" fmla="*/ 1233930 w 2953954"/>
                  <a:gd name="connsiteY28" fmla="*/ 1346105 h 2046352"/>
                  <a:gd name="connsiteX29" fmla="*/ 1094561 w 2953954"/>
                  <a:gd name="connsiteY29" fmla="*/ 1305314 h 2046352"/>
                  <a:gd name="connsiteX30" fmla="*/ 815822 w 2953954"/>
                  <a:gd name="connsiteY30" fmla="*/ 2029356 h 2046352"/>
                  <a:gd name="connsiteX31" fmla="*/ 370519 w 2953954"/>
                  <a:gd name="connsiteY31" fmla="*/ 2046352 h 2046352"/>
                  <a:gd name="connsiteX32" fmla="*/ 608467 w 2953954"/>
                  <a:gd name="connsiteY32" fmla="*/ 1026575 h 2046352"/>
                  <a:gd name="connsiteX33" fmla="*/ 0 w 2953954"/>
                  <a:gd name="connsiteY33" fmla="*/ 1026575 h 2046352"/>
                  <a:gd name="connsiteX34" fmla="*/ 0 w 2953954"/>
                  <a:gd name="connsiteY3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2046352 h 2046352"/>
                  <a:gd name="connsiteX14" fmla="*/ 2223114 w 2953954"/>
                  <a:gd name="connsiteY14" fmla="*/ 1281519 h 2046352"/>
                  <a:gd name="connsiteX15" fmla="*/ 1923980 w 2953954"/>
                  <a:gd name="connsiteY15" fmla="*/ 1281519 h 2046352"/>
                  <a:gd name="connsiteX16" fmla="*/ 2015760 w 2953954"/>
                  <a:gd name="connsiteY16" fmla="*/ 1281519 h 2046352"/>
                  <a:gd name="connsiteX17" fmla="*/ 1923980 w 2953954"/>
                  <a:gd name="connsiteY17" fmla="*/ 1281519 h 2046352"/>
                  <a:gd name="connsiteX18" fmla="*/ 1648639 w 2953954"/>
                  <a:gd name="connsiteY18" fmla="*/ 1281519 h 2046352"/>
                  <a:gd name="connsiteX19" fmla="*/ 1869590 w 2953954"/>
                  <a:gd name="connsiteY19" fmla="*/ 1281519 h 2046352"/>
                  <a:gd name="connsiteX20" fmla="*/ 1648639 w 2953954"/>
                  <a:gd name="connsiteY20" fmla="*/ 2046352 h 2046352"/>
                  <a:gd name="connsiteX21" fmla="*/ 1648639 w 2953954"/>
                  <a:gd name="connsiteY21" fmla="*/ 1281519 h 2046352"/>
                  <a:gd name="connsiteX22" fmla="*/ 0 w 2953954"/>
                  <a:gd name="connsiteY22" fmla="*/ 0 h 2046352"/>
                  <a:gd name="connsiteX23" fmla="*/ 2947156 w 2953954"/>
                  <a:gd name="connsiteY23" fmla="*/ 0 h 2046352"/>
                  <a:gd name="connsiteX24" fmla="*/ 2953954 w 2953954"/>
                  <a:gd name="connsiteY24" fmla="*/ 363720 h 2046352"/>
                  <a:gd name="connsiteX25" fmla="*/ 2648021 w 2953954"/>
                  <a:gd name="connsiteY25" fmla="*/ 1009579 h 2046352"/>
                  <a:gd name="connsiteX26" fmla="*/ 1407293 w 2953954"/>
                  <a:gd name="connsiteY26" fmla="*/ 1009579 h 2046352"/>
                  <a:gd name="connsiteX27" fmla="*/ 1233930 w 2953954"/>
                  <a:gd name="connsiteY27" fmla="*/ 1346105 h 2046352"/>
                  <a:gd name="connsiteX28" fmla="*/ 1094561 w 2953954"/>
                  <a:gd name="connsiteY28" fmla="*/ 1305314 h 2046352"/>
                  <a:gd name="connsiteX29" fmla="*/ 815822 w 2953954"/>
                  <a:gd name="connsiteY29" fmla="*/ 2029356 h 2046352"/>
                  <a:gd name="connsiteX30" fmla="*/ 370519 w 2953954"/>
                  <a:gd name="connsiteY30" fmla="*/ 2046352 h 2046352"/>
                  <a:gd name="connsiteX31" fmla="*/ 608467 w 2953954"/>
                  <a:gd name="connsiteY31" fmla="*/ 1026575 h 2046352"/>
                  <a:gd name="connsiteX32" fmla="*/ 0 w 2953954"/>
                  <a:gd name="connsiteY32" fmla="*/ 1026575 h 2046352"/>
                  <a:gd name="connsiteX33" fmla="*/ 0 w 2953954"/>
                  <a:gd name="connsiteY33"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223114 w 2953954"/>
                  <a:gd name="connsiteY10" fmla="*/ 1281519 h 2046352"/>
                  <a:gd name="connsiteX11" fmla="*/ 2314894 w 2953954"/>
                  <a:gd name="connsiteY11" fmla="*/ 1281519 h 2046352"/>
                  <a:gd name="connsiteX12" fmla="*/ 2314894 w 2953954"/>
                  <a:gd name="connsiteY12" fmla="*/ 2046352 h 2046352"/>
                  <a:gd name="connsiteX13" fmla="*/ 2223114 w 2953954"/>
                  <a:gd name="connsiteY13" fmla="*/ 1281519 h 2046352"/>
                  <a:gd name="connsiteX14" fmla="*/ 1923980 w 2953954"/>
                  <a:gd name="connsiteY14" fmla="*/ 1281519 h 2046352"/>
                  <a:gd name="connsiteX15" fmla="*/ 2015760 w 2953954"/>
                  <a:gd name="connsiteY15" fmla="*/ 1281519 h 2046352"/>
                  <a:gd name="connsiteX16" fmla="*/ 1923980 w 2953954"/>
                  <a:gd name="connsiteY16" fmla="*/ 1281519 h 2046352"/>
                  <a:gd name="connsiteX17" fmla="*/ 1648639 w 2953954"/>
                  <a:gd name="connsiteY17" fmla="*/ 1281519 h 2046352"/>
                  <a:gd name="connsiteX18" fmla="*/ 1869590 w 2953954"/>
                  <a:gd name="connsiteY18" fmla="*/ 1281519 h 2046352"/>
                  <a:gd name="connsiteX19" fmla="*/ 1648639 w 2953954"/>
                  <a:gd name="connsiteY19" fmla="*/ 2046352 h 2046352"/>
                  <a:gd name="connsiteX20" fmla="*/ 1648639 w 2953954"/>
                  <a:gd name="connsiteY20" fmla="*/ 1281519 h 2046352"/>
                  <a:gd name="connsiteX21" fmla="*/ 0 w 2953954"/>
                  <a:gd name="connsiteY21" fmla="*/ 0 h 2046352"/>
                  <a:gd name="connsiteX22" fmla="*/ 2947156 w 2953954"/>
                  <a:gd name="connsiteY22" fmla="*/ 0 h 2046352"/>
                  <a:gd name="connsiteX23" fmla="*/ 2953954 w 2953954"/>
                  <a:gd name="connsiteY23" fmla="*/ 363720 h 2046352"/>
                  <a:gd name="connsiteX24" fmla="*/ 2648021 w 2953954"/>
                  <a:gd name="connsiteY24" fmla="*/ 1009579 h 2046352"/>
                  <a:gd name="connsiteX25" fmla="*/ 1407293 w 2953954"/>
                  <a:gd name="connsiteY25" fmla="*/ 1009579 h 2046352"/>
                  <a:gd name="connsiteX26" fmla="*/ 1233930 w 2953954"/>
                  <a:gd name="connsiteY26" fmla="*/ 1346105 h 2046352"/>
                  <a:gd name="connsiteX27" fmla="*/ 1094561 w 2953954"/>
                  <a:gd name="connsiteY27" fmla="*/ 1305314 h 2046352"/>
                  <a:gd name="connsiteX28" fmla="*/ 815822 w 2953954"/>
                  <a:gd name="connsiteY28" fmla="*/ 2029356 h 2046352"/>
                  <a:gd name="connsiteX29" fmla="*/ 370519 w 2953954"/>
                  <a:gd name="connsiteY29" fmla="*/ 2046352 h 2046352"/>
                  <a:gd name="connsiteX30" fmla="*/ 608467 w 2953954"/>
                  <a:gd name="connsiteY30" fmla="*/ 1026575 h 2046352"/>
                  <a:gd name="connsiteX31" fmla="*/ 0 w 2953954"/>
                  <a:gd name="connsiteY31" fmla="*/ 1026575 h 2046352"/>
                  <a:gd name="connsiteX32" fmla="*/ 0 w 2953954"/>
                  <a:gd name="connsiteY32"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2314894 w 2953954"/>
                  <a:gd name="connsiteY10" fmla="*/ 2046352 h 2046352"/>
                  <a:gd name="connsiteX11" fmla="*/ 2314894 w 2953954"/>
                  <a:gd name="connsiteY11" fmla="*/ 1281519 h 2046352"/>
                  <a:gd name="connsiteX12" fmla="*/ 2314894 w 2953954"/>
                  <a:gd name="connsiteY12" fmla="*/ 2046352 h 2046352"/>
                  <a:gd name="connsiteX13" fmla="*/ 1923980 w 2953954"/>
                  <a:gd name="connsiteY13" fmla="*/ 1281519 h 2046352"/>
                  <a:gd name="connsiteX14" fmla="*/ 2015760 w 2953954"/>
                  <a:gd name="connsiteY14" fmla="*/ 1281519 h 2046352"/>
                  <a:gd name="connsiteX15" fmla="*/ 1923980 w 2953954"/>
                  <a:gd name="connsiteY15" fmla="*/ 1281519 h 2046352"/>
                  <a:gd name="connsiteX16" fmla="*/ 1648639 w 2953954"/>
                  <a:gd name="connsiteY16" fmla="*/ 1281519 h 2046352"/>
                  <a:gd name="connsiteX17" fmla="*/ 1869590 w 2953954"/>
                  <a:gd name="connsiteY17" fmla="*/ 1281519 h 2046352"/>
                  <a:gd name="connsiteX18" fmla="*/ 1648639 w 2953954"/>
                  <a:gd name="connsiteY18" fmla="*/ 2046352 h 2046352"/>
                  <a:gd name="connsiteX19" fmla="*/ 1648639 w 2953954"/>
                  <a:gd name="connsiteY19" fmla="*/ 1281519 h 2046352"/>
                  <a:gd name="connsiteX20" fmla="*/ 0 w 2953954"/>
                  <a:gd name="connsiteY20" fmla="*/ 0 h 2046352"/>
                  <a:gd name="connsiteX21" fmla="*/ 2947156 w 2953954"/>
                  <a:gd name="connsiteY21" fmla="*/ 0 h 2046352"/>
                  <a:gd name="connsiteX22" fmla="*/ 2953954 w 2953954"/>
                  <a:gd name="connsiteY22" fmla="*/ 363720 h 2046352"/>
                  <a:gd name="connsiteX23" fmla="*/ 2648021 w 2953954"/>
                  <a:gd name="connsiteY23" fmla="*/ 1009579 h 2046352"/>
                  <a:gd name="connsiteX24" fmla="*/ 1407293 w 2953954"/>
                  <a:gd name="connsiteY24" fmla="*/ 1009579 h 2046352"/>
                  <a:gd name="connsiteX25" fmla="*/ 1233930 w 2953954"/>
                  <a:gd name="connsiteY25" fmla="*/ 1346105 h 2046352"/>
                  <a:gd name="connsiteX26" fmla="*/ 1094561 w 2953954"/>
                  <a:gd name="connsiteY26" fmla="*/ 1305314 h 2046352"/>
                  <a:gd name="connsiteX27" fmla="*/ 815822 w 2953954"/>
                  <a:gd name="connsiteY27" fmla="*/ 2029356 h 2046352"/>
                  <a:gd name="connsiteX28" fmla="*/ 370519 w 2953954"/>
                  <a:gd name="connsiteY28" fmla="*/ 2046352 h 2046352"/>
                  <a:gd name="connsiteX29" fmla="*/ 608467 w 2953954"/>
                  <a:gd name="connsiteY29" fmla="*/ 1026575 h 2046352"/>
                  <a:gd name="connsiteX30" fmla="*/ 0 w 2953954"/>
                  <a:gd name="connsiteY30" fmla="*/ 1026575 h 2046352"/>
                  <a:gd name="connsiteX31" fmla="*/ 0 w 2953954"/>
                  <a:gd name="connsiteY3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923980 w 2953954"/>
                  <a:gd name="connsiteY10" fmla="*/ 1281519 h 2046352"/>
                  <a:gd name="connsiteX11" fmla="*/ 2015760 w 2953954"/>
                  <a:gd name="connsiteY11" fmla="*/ 1281519 h 2046352"/>
                  <a:gd name="connsiteX12" fmla="*/ 1923980 w 2953954"/>
                  <a:gd name="connsiteY12" fmla="*/ 1281519 h 2046352"/>
                  <a:gd name="connsiteX13" fmla="*/ 1648639 w 2953954"/>
                  <a:gd name="connsiteY13" fmla="*/ 1281519 h 2046352"/>
                  <a:gd name="connsiteX14" fmla="*/ 1869590 w 2953954"/>
                  <a:gd name="connsiteY14" fmla="*/ 1281519 h 2046352"/>
                  <a:gd name="connsiteX15" fmla="*/ 1648639 w 2953954"/>
                  <a:gd name="connsiteY15" fmla="*/ 2046352 h 2046352"/>
                  <a:gd name="connsiteX16" fmla="*/ 1648639 w 2953954"/>
                  <a:gd name="connsiteY16" fmla="*/ 1281519 h 2046352"/>
                  <a:gd name="connsiteX17" fmla="*/ 0 w 2953954"/>
                  <a:gd name="connsiteY17" fmla="*/ 0 h 2046352"/>
                  <a:gd name="connsiteX18" fmla="*/ 2947156 w 2953954"/>
                  <a:gd name="connsiteY18" fmla="*/ 0 h 2046352"/>
                  <a:gd name="connsiteX19" fmla="*/ 2953954 w 2953954"/>
                  <a:gd name="connsiteY19" fmla="*/ 363720 h 2046352"/>
                  <a:gd name="connsiteX20" fmla="*/ 2648021 w 2953954"/>
                  <a:gd name="connsiteY20" fmla="*/ 1009579 h 2046352"/>
                  <a:gd name="connsiteX21" fmla="*/ 1407293 w 2953954"/>
                  <a:gd name="connsiteY21" fmla="*/ 1009579 h 2046352"/>
                  <a:gd name="connsiteX22" fmla="*/ 1233930 w 2953954"/>
                  <a:gd name="connsiteY22" fmla="*/ 1346105 h 2046352"/>
                  <a:gd name="connsiteX23" fmla="*/ 1094561 w 2953954"/>
                  <a:gd name="connsiteY23" fmla="*/ 1305314 h 2046352"/>
                  <a:gd name="connsiteX24" fmla="*/ 815822 w 2953954"/>
                  <a:gd name="connsiteY24" fmla="*/ 2029356 h 2046352"/>
                  <a:gd name="connsiteX25" fmla="*/ 370519 w 2953954"/>
                  <a:gd name="connsiteY25" fmla="*/ 2046352 h 2046352"/>
                  <a:gd name="connsiteX26" fmla="*/ 608467 w 2953954"/>
                  <a:gd name="connsiteY26" fmla="*/ 1026575 h 2046352"/>
                  <a:gd name="connsiteX27" fmla="*/ 0 w 2953954"/>
                  <a:gd name="connsiteY27" fmla="*/ 1026575 h 2046352"/>
                  <a:gd name="connsiteX28" fmla="*/ 0 w 2953954"/>
                  <a:gd name="connsiteY28"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869590 w 2953954"/>
                  <a:gd name="connsiteY11" fmla="*/ 1281519 h 2046352"/>
                  <a:gd name="connsiteX12" fmla="*/ 1648639 w 2953954"/>
                  <a:gd name="connsiteY12" fmla="*/ 2046352 h 2046352"/>
                  <a:gd name="connsiteX13" fmla="*/ 1648639 w 2953954"/>
                  <a:gd name="connsiteY13" fmla="*/ 1281519 h 2046352"/>
                  <a:gd name="connsiteX14" fmla="*/ 0 w 2953954"/>
                  <a:gd name="connsiteY14" fmla="*/ 0 h 2046352"/>
                  <a:gd name="connsiteX15" fmla="*/ 2947156 w 2953954"/>
                  <a:gd name="connsiteY15" fmla="*/ 0 h 2046352"/>
                  <a:gd name="connsiteX16" fmla="*/ 2953954 w 2953954"/>
                  <a:gd name="connsiteY16" fmla="*/ 363720 h 2046352"/>
                  <a:gd name="connsiteX17" fmla="*/ 2648021 w 2953954"/>
                  <a:gd name="connsiteY17" fmla="*/ 1009579 h 2046352"/>
                  <a:gd name="connsiteX18" fmla="*/ 1407293 w 2953954"/>
                  <a:gd name="connsiteY18" fmla="*/ 1009579 h 2046352"/>
                  <a:gd name="connsiteX19" fmla="*/ 1233930 w 2953954"/>
                  <a:gd name="connsiteY19" fmla="*/ 1346105 h 2046352"/>
                  <a:gd name="connsiteX20" fmla="*/ 1094561 w 2953954"/>
                  <a:gd name="connsiteY20" fmla="*/ 1305314 h 2046352"/>
                  <a:gd name="connsiteX21" fmla="*/ 815822 w 2953954"/>
                  <a:gd name="connsiteY21" fmla="*/ 2029356 h 2046352"/>
                  <a:gd name="connsiteX22" fmla="*/ 370519 w 2953954"/>
                  <a:gd name="connsiteY22" fmla="*/ 2046352 h 2046352"/>
                  <a:gd name="connsiteX23" fmla="*/ 608467 w 2953954"/>
                  <a:gd name="connsiteY23" fmla="*/ 1026575 h 2046352"/>
                  <a:gd name="connsiteX24" fmla="*/ 0 w 2953954"/>
                  <a:gd name="connsiteY24" fmla="*/ 1026575 h 2046352"/>
                  <a:gd name="connsiteX25" fmla="*/ 0 w 2953954"/>
                  <a:gd name="connsiteY25"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1648639 w 2953954"/>
                  <a:gd name="connsiteY10" fmla="*/ 1281519 h 2046352"/>
                  <a:gd name="connsiteX11" fmla="*/ 1648639 w 2953954"/>
                  <a:gd name="connsiteY11" fmla="*/ 2046352 h 2046352"/>
                  <a:gd name="connsiteX12" fmla="*/ 1648639 w 2953954"/>
                  <a:gd name="connsiteY12" fmla="*/ 1281519 h 2046352"/>
                  <a:gd name="connsiteX13" fmla="*/ 0 w 2953954"/>
                  <a:gd name="connsiteY13" fmla="*/ 0 h 2046352"/>
                  <a:gd name="connsiteX14" fmla="*/ 2947156 w 2953954"/>
                  <a:gd name="connsiteY14" fmla="*/ 0 h 2046352"/>
                  <a:gd name="connsiteX15" fmla="*/ 2953954 w 2953954"/>
                  <a:gd name="connsiteY15" fmla="*/ 363720 h 2046352"/>
                  <a:gd name="connsiteX16" fmla="*/ 2648021 w 2953954"/>
                  <a:gd name="connsiteY16" fmla="*/ 1009579 h 2046352"/>
                  <a:gd name="connsiteX17" fmla="*/ 1407293 w 2953954"/>
                  <a:gd name="connsiteY17" fmla="*/ 1009579 h 2046352"/>
                  <a:gd name="connsiteX18" fmla="*/ 1233930 w 2953954"/>
                  <a:gd name="connsiteY18" fmla="*/ 1346105 h 2046352"/>
                  <a:gd name="connsiteX19" fmla="*/ 1094561 w 2953954"/>
                  <a:gd name="connsiteY19" fmla="*/ 1305314 h 2046352"/>
                  <a:gd name="connsiteX20" fmla="*/ 815822 w 2953954"/>
                  <a:gd name="connsiteY20" fmla="*/ 2029356 h 2046352"/>
                  <a:gd name="connsiteX21" fmla="*/ 370519 w 2953954"/>
                  <a:gd name="connsiteY21" fmla="*/ 2046352 h 2046352"/>
                  <a:gd name="connsiteX22" fmla="*/ 608467 w 2953954"/>
                  <a:gd name="connsiteY22" fmla="*/ 1026575 h 2046352"/>
                  <a:gd name="connsiteX23" fmla="*/ 0 w 2953954"/>
                  <a:gd name="connsiteY23" fmla="*/ 1026575 h 2046352"/>
                  <a:gd name="connsiteX24" fmla="*/ 0 w 2953954"/>
                  <a:gd name="connsiteY24"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2046352 h 2046352"/>
                  <a:gd name="connsiteX9" fmla="*/ 2620827 w 2953954"/>
                  <a:gd name="connsiteY9" fmla="*/ 1281519 h 2046352"/>
                  <a:gd name="connsiteX10" fmla="*/ 0 w 2953954"/>
                  <a:gd name="connsiteY10" fmla="*/ 0 h 2046352"/>
                  <a:gd name="connsiteX11" fmla="*/ 2947156 w 2953954"/>
                  <a:gd name="connsiteY11" fmla="*/ 0 h 2046352"/>
                  <a:gd name="connsiteX12" fmla="*/ 2953954 w 2953954"/>
                  <a:gd name="connsiteY12" fmla="*/ 363720 h 2046352"/>
                  <a:gd name="connsiteX13" fmla="*/ 2648021 w 2953954"/>
                  <a:gd name="connsiteY13" fmla="*/ 1009579 h 2046352"/>
                  <a:gd name="connsiteX14" fmla="*/ 1407293 w 2953954"/>
                  <a:gd name="connsiteY14" fmla="*/ 1009579 h 2046352"/>
                  <a:gd name="connsiteX15" fmla="*/ 1233930 w 2953954"/>
                  <a:gd name="connsiteY15" fmla="*/ 1346105 h 2046352"/>
                  <a:gd name="connsiteX16" fmla="*/ 1094561 w 2953954"/>
                  <a:gd name="connsiteY16" fmla="*/ 1305314 h 2046352"/>
                  <a:gd name="connsiteX17" fmla="*/ 815822 w 2953954"/>
                  <a:gd name="connsiteY17" fmla="*/ 2029356 h 2046352"/>
                  <a:gd name="connsiteX18" fmla="*/ 370519 w 2953954"/>
                  <a:gd name="connsiteY18" fmla="*/ 2046352 h 2046352"/>
                  <a:gd name="connsiteX19" fmla="*/ 608467 w 2953954"/>
                  <a:gd name="connsiteY19" fmla="*/ 1026575 h 2046352"/>
                  <a:gd name="connsiteX20" fmla="*/ 0 w 2953954"/>
                  <a:gd name="connsiteY20" fmla="*/ 1026575 h 2046352"/>
                  <a:gd name="connsiteX21" fmla="*/ 0 w 2953954"/>
                  <a:gd name="connsiteY21"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712607 w 2953954"/>
                  <a:gd name="connsiteY7" fmla="*/ 2046352 h 2046352"/>
                  <a:gd name="connsiteX8" fmla="*/ 2620827 w 2953954"/>
                  <a:gd name="connsiteY8" fmla="*/ 1281519 h 2046352"/>
                  <a:gd name="connsiteX9" fmla="*/ 0 w 2953954"/>
                  <a:gd name="connsiteY9" fmla="*/ 0 h 2046352"/>
                  <a:gd name="connsiteX10" fmla="*/ 2947156 w 2953954"/>
                  <a:gd name="connsiteY10" fmla="*/ 0 h 2046352"/>
                  <a:gd name="connsiteX11" fmla="*/ 2953954 w 2953954"/>
                  <a:gd name="connsiteY11" fmla="*/ 363720 h 2046352"/>
                  <a:gd name="connsiteX12" fmla="*/ 2648021 w 2953954"/>
                  <a:gd name="connsiteY12" fmla="*/ 1009579 h 2046352"/>
                  <a:gd name="connsiteX13" fmla="*/ 1407293 w 2953954"/>
                  <a:gd name="connsiteY13" fmla="*/ 1009579 h 2046352"/>
                  <a:gd name="connsiteX14" fmla="*/ 1233930 w 2953954"/>
                  <a:gd name="connsiteY14" fmla="*/ 1346105 h 2046352"/>
                  <a:gd name="connsiteX15" fmla="*/ 1094561 w 2953954"/>
                  <a:gd name="connsiteY15" fmla="*/ 1305314 h 2046352"/>
                  <a:gd name="connsiteX16" fmla="*/ 815822 w 2953954"/>
                  <a:gd name="connsiteY16" fmla="*/ 2029356 h 2046352"/>
                  <a:gd name="connsiteX17" fmla="*/ 370519 w 2953954"/>
                  <a:gd name="connsiteY17" fmla="*/ 2046352 h 2046352"/>
                  <a:gd name="connsiteX18" fmla="*/ 608467 w 2953954"/>
                  <a:gd name="connsiteY18" fmla="*/ 1026575 h 2046352"/>
                  <a:gd name="connsiteX19" fmla="*/ 0 w 2953954"/>
                  <a:gd name="connsiteY19" fmla="*/ 1026575 h 2046352"/>
                  <a:gd name="connsiteX20" fmla="*/ 0 w 2953954"/>
                  <a:gd name="connsiteY20"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2046352 h 2046352"/>
                  <a:gd name="connsiteX4" fmla="*/ 2765016 w 2953954"/>
                  <a:gd name="connsiteY4" fmla="*/ 1281519 h 2046352"/>
                  <a:gd name="connsiteX5" fmla="*/ 2620827 w 2953954"/>
                  <a:gd name="connsiteY5" fmla="*/ 1281519 h 2046352"/>
                  <a:gd name="connsiteX6" fmla="*/ 2712607 w 2953954"/>
                  <a:gd name="connsiteY6" fmla="*/ 1281519 h 2046352"/>
                  <a:gd name="connsiteX7" fmla="*/ 2620827 w 2953954"/>
                  <a:gd name="connsiteY7" fmla="*/ 1281519 h 2046352"/>
                  <a:gd name="connsiteX8" fmla="*/ 0 w 2953954"/>
                  <a:gd name="connsiteY8" fmla="*/ 0 h 2046352"/>
                  <a:gd name="connsiteX9" fmla="*/ 2947156 w 2953954"/>
                  <a:gd name="connsiteY9" fmla="*/ 0 h 2046352"/>
                  <a:gd name="connsiteX10" fmla="*/ 2953954 w 2953954"/>
                  <a:gd name="connsiteY10" fmla="*/ 363720 h 2046352"/>
                  <a:gd name="connsiteX11" fmla="*/ 2648021 w 2953954"/>
                  <a:gd name="connsiteY11" fmla="*/ 1009579 h 2046352"/>
                  <a:gd name="connsiteX12" fmla="*/ 1407293 w 2953954"/>
                  <a:gd name="connsiteY12" fmla="*/ 1009579 h 2046352"/>
                  <a:gd name="connsiteX13" fmla="*/ 1233930 w 2953954"/>
                  <a:gd name="connsiteY13" fmla="*/ 1346105 h 2046352"/>
                  <a:gd name="connsiteX14" fmla="*/ 1094561 w 2953954"/>
                  <a:gd name="connsiteY14" fmla="*/ 1305314 h 2046352"/>
                  <a:gd name="connsiteX15" fmla="*/ 815822 w 2953954"/>
                  <a:gd name="connsiteY15" fmla="*/ 2029356 h 2046352"/>
                  <a:gd name="connsiteX16" fmla="*/ 370519 w 2953954"/>
                  <a:gd name="connsiteY16" fmla="*/ 2046352 h 2046352"/>
                  <a:gd name="connsiteX17" fmla="*/ 608467 w 2953954"/>
                  <a:gd name="connsiteY17" fmla="*/ 1026575 h 2046352"/>
                  <a:gd name="connsiteX18" fmla="*/ 0 w 2953954"/>
                  <a:gd name="connsiteY18" fmla="*/ 1026575 h 2046352"/>
                  <a:gd name="connsiteX19" fmla="*/ 0 w 2953954"/>
                  <a:gd name="connsiteY19" fmla="*/ 0 h 2046352"/>
                  <a:gd name="connsiteX0" fmla="*/ 2765016 w 2953954"/>
                  <a:gd name="connsiteY0" fmla="*/ 1281519 h 2046352"/>
                  <a:gd name="connsiteX1" fmla="*/ 2953954 w 2953954"/>
                  <a:gd name="connsiteY1" fmla="*/ 1281519 h 2046352"/>
                  <a:gd name="connsiteX2" fmla="*/ 2953954 w 2953954"/>
                  <a:gd name="connsiteY2" fmla="*/ 2046352 h 2046352"/>
                  <a:gd name="connsiteX3" fmla="*/ 2765016 w 2953954"/>
                  <a:gd name="connsiteY3" fmla="*/ 1281519 h 2046352"/>
                  <a:gd name="connsiteX4" fmla="*/ 2620827 w 2953954"/>
                  <a:gd name="connsiteY4" fmla="*/ 1281519 h 2046352"/>
                  <a:gd name="connsiteX5" fmla="*/ 2712607 w 2953954"/>
                  <a:gd name="connsiteY5" fmla="*/ 1281519 h 2046352"/>
                  <a:gd name="connsiteX6" fmla="*/ 2620827 w 2953954"/>
                  <a:gd name="connsiteY6" fmla="*/ 1281519 h 2046352"/>
                  <a:gd name="connsiteX7" fmla="*/ 0 w 2953954"/>
                  <a:gd name="connsiteY7" fmla="*/ 0 h 2046352"/>
                  <a:gd name="connsiteX8" fmla="*/ 2947156 w 2953954"/>
                  <a:gd name="connsiteY8" fmla="*/ 0 h 2046352"/>
                  <a:gd name="connsiteX9" fmla="*/ 2953954 w 2953954"/>
                  <a:gd name="connsiteY9" fmla="*/ 363720 h 2046352"/>
                  <a:gd name="connsiteX10" fmla="*/ 2648021 w 2953954"/>
                  <a:gd name="connsiteY10" fmla="*/ 1009579 h 2046352"/>
                  <a:gd name="connsiteX11" fmla="*/ 1407293 w 2953954"/>
                  <a:gd name="connsiteY11" fmla="*/ 1009579 h 2046352"/>
                  <a:gd name="connsiteX12" fmla="*/ 1233930 w 2953954"/>
                  <a:gd name="connsiteY12" fmla="*/ 1346105 h 2046352"/>
                  <a:gd name="connsiteX13" fmla="*/ 1094561 w 2953954"/>
                  <a:gd name="connsiteY13" fmla="*/ 1305314 h 2046352"/>
                  <a:gd name="connsiteX14" fmla="*/ 815822 w 2953954"/>
                  <a:gd name="connsiteY14" fmla="*/ 2029356 h 2046352"/>
                  <a:gd name="connsiteX15" fmla="*/ 370519 w 2953954"/>
                  <a:gd name="connsiteY15" fmla="*/ 2046352 h 2046352"/>
                  <a:gd name="connsiteX16" fmla="*/ 608467 w 2953954"/>
                  <a:gd name="connsiteY16" fmla="*/ 1026575 h 2046352"/>
                  <a:gd name="connsiteX17" fmla="*/ 0 w 2953954"/>
                  <a:gd name="connsiteY17" fmla="*/ 1026575 h 2046352"/>
                  <a:gd name="connsiteX18" fmla="*/ 0 w 2953954"/>
                  <a:gd name="connsiteY18" fmla="*/ 0 h 2046352"/>
                  <a:gd name="connsiteX0" fmla="*/ 2765016 w 2953954"/>
                  <a:gd name="connsiteY0" fmla="*/ 1281519 h 2046352"/>
                  <a:gd name="connsiteX1" fmla="*/ 2953954 w 2953954"/>
                  <a:gd name="connsiteY1" fmla="*/ 1281519 h 2046352"/>
                  <a:gd name="connsiteX2" fmla="*/ 2765016 w 2953954"/>
                  <a:gd name="connsiteY2" fmla="*/ 1281519 h 2046352"/>
                  <a:gd name="connsiteX3" fmla="*/ 2620827 w 2953954"/>
                  <a:gd name="connsiteY3" fmla="*/ 1281519 h 2046352"/>
                  <a:gd name="connsiteX4" fmla="*/ 2712607 w 2953954"/>
                  <a:gd name="connsiteY4" fmla="*/ 1281519 h 2046352"/>
                  <a:gd name="connsiteX5" fmla="*/ 2620827 w 2953954"/>
                  <a:gd name="connsiteY5" fmla="*/ 1281519 h 2046352"/>
                  <a:gd name="connsiteX6" fmla="*/ 0 w 2953954"/>
                  <a:gd name="connsiteY6" fmla="*/ 0 h 2046352"/>
                  <a:gd name="connsiteX7" fmla="*/ 2947156 w 2953954"/>
                  <a:gd name="connsiteY7" fmla="*/ 0 h 2046352"/>
                  <a:gd name="connsiteX8" fmla="*/ 2953954 w 2953954"/>
                  <a:gd name="connsiteY8" fmla="*/ 363720 h 2046352"/>
                  <a:gd name="connsiteX9" fmla="*/ 2648021 w 2953954"/>
                  <a:gd name="connsiteY9" fmla="*/ 1009579 h 2046352"/>
                  <a:gd name="connsiteX10" fmla="*/ 1407293 w 2953954"/>
                  <a:gd name="connsiteY10" fmla="*/ 1009579 h 2046352"/>
                  <a:gd name="connsiteX11" fmla="*/ 1233930 w 2953954"/>
                  <a:gd name="connsiteY11" fmla="*/ 1346105 h 2046352"/>
                  <a:gd name="connsiteX12" fmla="*/ 1094561 w 2953954"/>
                  <a:gd name="connsiteY12" fmla="*/ 1305314 h 2046352"/>
                  <a:gd name="connsiteX13" fmla="*/ 815822 w 2953954"/>
                  <a:gd name="connsiteY13" fmla="*/ 2029356 h 2046352"/>
                  <a:gd name="connsiteX14" fmla="*/ 370519 w 2953954"/>
                  <a:gd name="connsiteY14" fmla="*/ 2046352 h 2046352"/>
                  <a:gd name="connsiteX15" fmla="*/ 608467 w 2953954"/>
                  <a:gd name="connsiteY15" fmla="*/ 1026575 h 2046352"/>
                  <a:gd name="connsiteX16" fmla="*/ 0 w 2953954"/>
                  <a:gd name="connsiteY16" fmla="*/ 1026575 h 2046352"/>
                  <a:gd name="connsiteX17" fmla="*/ 0 w 2953954"/>
                  <a:gd name="connsiteY17" fmla="*/ 0 h 2046352"/>
                  <a:gd name="connsiteX0" fmla="*/ 2620827 w 2953954"/>
                  <a:gd name="connsiteY0" fmla="*/ 1281519 h 2046352"/>
                  <a:gd name="connsiteX1" fmla="*/ 2712607 w 2953954"/>
                  <a:gd name="connsiteY1" fmla="*/ 1281519 h 2046352"/>
                  <a:gd name="connsiteX2" fmla="*/ 2620827 w 2953954"/>
                  <a:gd name="connsiteY2" fmla="*/ 1281519 h 2046352"/>
                  <a:gd name="connsiteX3" fmla="*/ 0 w 2953954"/>
                  <a:gd name="connsiteY3" fmla="*/ 0 h 2046352"/>
                  <a:gd name="connsiteX4" fmla="*/ 2947156 w 2953954"/>
                  <a:gd name="connsiteY4" fmla="*/ 0 h 2046352"/>
                  <a:gd name="connsiteX5" fmla="*/ 2953954 w 2953954"/>
                  <a:gd name="connsiteY5" fmla="*/ 363720 h 2046352"/>
                  <a:gd name="connsiteX6" fmla="*/ 2648021 w 2953954"/>
                  <a:gd name="connsiteY6" fmla="*/ 1009579 h 2046352"/>
                  <a:gd name="connsiteX7" fmla="*/ 1407293 w 2953954"/>
                  <a:gd name="connsiteY7" fmla="*/ 1009579 h 2046352"/>
                  <a:gd name="connsiteX8" fmla="*/ 1233930 w 2953954"/>
                  <a:gd name="connsiteY8" fmla="*/ 1346105 h 2046352"/>
                  <a:gd name="connsiteX9" fmla="*/ 1094561 w 2953954"/>
                  <a:gd name="connsiteY9" fmla="*/ 1305314 h 2046352"/>
                  <a:gd name="connsiteX10" fmla="*/ 815822 w 2953954"/>
                  <a:gd name="connsiteY10" fmla="*/ 2029356 h 2046352"/>
                  <a:gd name="connsiteX11" fmla="*/ 370519 w 2953954"/>
                  <a:gd name="connsiteY11" fmla="*/ 2046352 h 2046352"/>
                  <a:gd name="connsiteX12" fmla="*/ 608467 w 2953954"/>
                  <a:gd name="connsiteY12" fmla="*/ 1026575 h 2046352"/>
                  <a:gd name="connsiteX13" fmla="*/ 0 w 2953954"/>
                  <a:gd name="connsiteY13" fmla="*/ 1026575 h 2046352"/>
                  <a:gd name="connsiteX14" fmla="*/ 0 w 2953954"/>
                  <a:gd name="connsiteY14" fmla="*/ 0 h 2046352"/>
                  <a:gd name="connsiteX0" fmla="*/ 0 w 2953954"/>
                  <a:gd name="connsiteY0" fmla="*/ 0 h 2046352"/>
                  <a:gd name="connsiteX1" fmla="*/ 2947156 w 2953954"/>
                  <a:gd name="connsiteY1" fmla="*/ 0 h 2046352"/>
                  <a:gd name="connsiteX2" fmla="*/ 2953954 w 2953954"/>
                  <a:gd name="connsiteY2" fmla="*/ 363720 h 2046352"/>
                  <a:gd name="connsiteX3" fmla="*/ 2648021 w 2953954"/>
                  <a:gd name="connsiteY3" fmla="*/ 1009579 h 2046352"/>
                  <a:gd name="connsiteX4" fmla="*/ 1407293 w 2953954"/>
                  <a:gd name="connsiteY4" fmla="*/ 1009579 h 2046352"/>
                  <a:gd name="connsiteX5" fmla="*/ 1233930 w 2953954"/>
                  <a:gd name="connsiteY5" fmla="*/ 1346105 h 2046352"/>
                  <a:gd name="connsiteX6" fmla="*/ 1094561 w 2953954"/>
                  <a:gd name="connsiteY6" fmla="*/ 1305314 h 2046352"/>
                  <a:gd name="connsiteX7" fmla="*/ 815822 w 2953954"/>
                  <a:gd name="connsiteY7" fmla="*/ 2029356 h 2046352"/>
                  <a:gd name="connsiteX8" fmla="*/ 370519 w 2953954"/>
                  <a:gd name="connsiteY8" fmla="*/ 2046352 h 2046352"/>
                  <a:gd name="connsiteX9" fmla="*/ 608467 w 2953954"/>
                  <a:gd name="connsiteY9" fmla="*/ 1026575 h 2046352"/>
                  <a:gd name="connsiteX10" fmla="*/ 0 w 2953954"/>
                  <a:gd name="connsiteY10" fmla="*/ 1026575 h 2046352"/>
                  <a:gd name="connsiteX11" fmla="*/ 0 w 2953954"/>
                  <a:gd name="connsiteY11" fmla="*/ 0 h 204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3954" h="2046352">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lnTo>
                      <a:pt x="0" y="0"/>
                    </a:lnTo>
                    <a:close/>
                  </a:path>
                </a:pathLst>
              </a:custGeom>
              <a:solidFill>
                <a:srgbClr val="8DC54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799"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 name="Oval 26"/>
            <p:cNvSpPr/>
            <p:nvPr/>
          </p:nvSpPr>
          <p:spPr bwMode="auto">
            <a:xfrm>
              <a:off x="4968733" y="5462331"/>
              <a:ext cx="27042" cy="28388"/>
            </a:xfrm>
            <a:prstGeom prst="ellipse">
              <a:avLst/>
            </a:prstGeom>
            <a:solidFill>
              <a:srgbClr val="6795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28" name="Rectangle 27"/>
            <p:cNvSpPr/>
            <p:nvPr/>
          </p:nvSpPr>
          <p:spPr bwMode="auto">
            <a:xfrm rot="685209">
              <a:off x="4819675" y="5450887"/>
              <a:ext cx="136231" cy="12039"/>
            </a:xfrm>
            <a:prstGeom prst="rect">
              <a:avLst/>
            </a:prstGeom>
            <a:solidFill>
              <a:srgbClr val="6795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sp>
        <p:nvSpPr>
          <p:cNvPr id="610" name="Oval 5"/>
          <p:cNvSpPr/>
          <p:nvPr/>
        </p:nvSpPr>
        <p:spPr bwMode="auto">
          <a:xfrm>
            <a:off x="3877259" y="4440865"/>
            <a:ext cx="288971" cy="283081"/>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5F8A95"/>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351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Projects</a:t>
            </a:r>
            <a:endParaRPr lang="en-US" dirty="0"/>
          </a:p>
        </p:txBody>
      </p:sp>
    </p:spTree>
    <p:extLst>
      <p:ext uri="{BB962C8B-B14F-4D97-AF65-F5344CB8AC3E}">
        <p14:creationId xmlns:p14="http://schemas.microsoft.com/office/powerpoint/2010/main" val="2861508484"/>
      </p:ext>
    </p:extLst>
  </p:cSld>
  <p:clrMapOvr>
    <a:masterClrMapping/>
  </p:clrMapOvr>
  <p:transition spd="slow">
    <p:push/>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s://github.com/MSOpenTech/connectthedots/raw/master/Wiki/Images/ConnectTheDots%20Temp%20and%20Hmdt%20Architec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5753" y="79022"/>
            <a:ext cx="9823803" cy="67413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036657"/>
      </p:ext>
    </p:extLst>
  </p:cSld>
  <p:clrMapOvr>
    <a:masterClrMapping/>
  </p:clrMapOvr>
  <p:transition spd="slow">
    <p:push/>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github.com/MSOpenTech/connectthedots/raw/master/Wiki/Images/WebSiteCaptur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200" y="0"/>
            <a:ext cx="1170692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0057199"/>
      </p:ext>
    </p:extLst>
  </p:cSld>
  <p:clrMapOvr>
    <a:masterClrMapping/>
  </p:clrMapOvr>
  <p:transition spd="slow">
    <p:push/>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nufacturing</a:t>
            </a:r>
            <a:endParaRPr lang="en-US" dirty="0"/>
          </a:p>
        </p:txBody>
      </p:sp>
      <p:pic>
        <p:nvPicPr>
          <p:cNvPr id="3074" name="Picture 2" descr="Manufacturing Projec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776" y="1189179"/>
            <a:ext cx="10860768" cy="564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2735070"/>
      </p:ext>
    </p:extLst>
  </p:cSld>
  <p:clrMapOvr>
    <a:masterClrMapping/>
  </p:clrMapOvr>
  <p:transition spd="slow">
    <p:push/>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2" y="3068437"/>
            <a:ext cx="11653523" cy="721126"/>
          </a:xfrm>
        </p:spPr>
        <p:txBody>
          <a:bodyPr anchor="ctr"/>
          <a:lstStyle/>
          <a:p>
            <a:pPr marL="0" indent="0" algn="ctr">
              <a:buNone/>
            </a:pPr>
            <a:r>
              <a:rPr lang="en-US" dirty="0" smtClean="0"/>
              <a:t>Why not?</a:t>
            </a:r>
          </a:p>
        </p:txBody>
      </p:sp>
    </p:spTree>
    <p:extLst>
      <p:ext uri="{BB962C8B-B14F-4D97-AF65-F5344CB8AC3E}">
        <p14:creationId xmlns:p14="http://schemas.microsoft.com/office/powerpoint/2010/main" val="2881880758"/>
      </p:ext>
    </p:extLst>
  </p:cSld>
  <p:clrMapOvr>
    <a:masterClrMapping/>
  </p:clrMapOvr>
  <p:transition spd="slow">
    <p:push/>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Real-time event display"/>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175672" y="235718"/>
            <a:ext cx="11753850" cy="6276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3159770"/>
      </p:ext>
    </p:extLst>
  </p:cSld>
  <p:clrMapOvr>
    <a:masterClrMapping/>
  </p:clrMapOvr>
  <p:transition spd="slow">
    <p:push/>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534336" y="0"/>
            <a:ext cx="9077352" cy="6858000"/>
          </a:xfrm>
          <a:prstGeom prst="rect">
            <a:avLst/>
          </a:prstGeom>
        </p:spPr>
      </p:pic>
    </p:spTree>
    <p:extLst>
      <p:ext uri="{BB962C8B-B14F-4D97-AF65-F5344CB8AC3E}">
        <p14:creationId xmlns:p14="http://schemas.microsoft.com/office/powerpoint/2010/main" val="2611820397"/>
      </p:ext>
    </p:extLst>
  </p:cSld>
  <p:clrMapOvr>
    <a:masterClrMapping/>
  </p:clrMapOvr>
  <p:transition spd="slow">
    <p:push/>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4682211"/>
          </a:xfrm>
        </p:spPr>
        <p:txBody>
          <a:bodyPr/>
          <a:lstStyle/>
          <a:p>
            <a:r>
              <a:rPr lang="en-US" dirty="0" smtClean="0"/>
              <a:t>Tell me about your scenario</a:t>
            </a:r>
          </a:p>
          <a:p>
            <a:r>
              <a:rPr lang="en-US" dirty="0" smtClean="0"/>
              <a:t>Watch the //Build announcements</a:t>
            </a:r>
          </a:p>
          <a:p>
            <a:endParaRPr lang="en-US" dirty="0"/>
          </a:p>
          <a:p>
            <a:endParaRPr lang="en-US" dirty="0"/>
          </a:p>
          <a:p>
            <a:r>
              <a:rPr lang="en-US" dirty="0" smtClean="0"/>
              <a:t>Follow </a:t>
            </a:r>
            <a:r>
              <a:rPr lang="en-US" b="1" dirty="0" smtClean="0"/>
              <a:t>@ytechie</a:t>
            </a:r>
          </a:p>
          <a:p>
            <a:r>
              <a:rPr lang="en-US" dirty="0" smtClean="0"/>
              <a:t>Listen to the MS Dev Show (</a:t>
            </a:r>
            <a:r>
              <a:rPr lang="en-US" b="1" dirty="0" smtClean="0"/>
              <a:t>msdevshow.com</a:t>
            </a:r>
            <a:r>
              <a:rPr lang="en-US" dirty="0" smtClean="0"/>
              <a:t>)</a:t>
            </a:r>
          </a:p>
          <a:p>
            <a:endParaRPr lang="en-US" dirty="0" smtClean="0"/>
          </a:p>
        </p:txBody>
      </p:sp>
      <p:sp>
        <p:nvSpPr>
          <p:cNvPr id="3" name="Title 2"/>
          <p:cNvSpPr>
            <a:spLocks noGrp="1"/>
          </p:cNvSpPr>
          <p:nvPr>
            <p:ph type="title"/>
          </p:nvPr>
        </p:nvSpPr>
        <p:spPr/>
        <p:txBody>
          <a:bodyPr/>
          <a:lstStyle/>
          <a:p>
            <a:r>
              <a:rPr lang="en-US" dirty="0" smtClean="0"/>
              <a:t>Call to Action</a:t>
            </a:r>
            <a:endParaRPr lang="en-US" dirty="0"/>
          </a:p>
        </p:txBody>
      </p:sp>
    </p:spTree>
    <p:extLst>
      <p:ext uri="{BB962C8B-B14F-4D97-AF65-F5344CB8AC3E}">
        <p14:creationId xmlns:p14="http://schemas.microsoft.com/office/powerpoint/2010/main" val="2217604330"/>
      </p:ext>
    </p:extLst>
  </p:cSld>
  <p:clrMapOvr>
    <a:masterClrMapping/>
  </p:clrMapOvr>
  <p:transition spd="slow">
    <p:push/>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12913" y="1377074"/>
            <a:ext cx="10668000" cy="1323439"/>
          </a:xfrm>
          <a:prstGeom prst="rect">
            <a:avLst/>
          </a:prstGeom>
        </p:spPr>
        <p:txBody>
          <a:bodyPr wrap="square">
            <a:spAutoFit/>
          </a:bodyPr>
          <a:lstStyle/>
          <a:p>
            <a:pPr algn="ctr"/>
            <a:r>
              <a:rPr lang="en-US" sz="4000" dirty="0" smtClean="0"/>
              <a:t>“The </a:t>
            </a:r>
            <a:r>
              <a:rPr lang="en-US" sz="4000" dirty="0"/>
              <a:t>most profound technologies are those that disappear</a:t>
            </a:r>
            <a:r>
              <a:rPr lang="en-US" sz="4000" dirty="0" smtClean="0"/>
              <a:t>.”</a:t>
            </a:r>
            <a:endParaRPr lang="en-US" sz="4000" dirty="0"/>
          </a:p>
        </p:txBody>
      </p:sp>
      <p:sp>
        <p:nvSpPr>
          <p:cNvPr id="4" name="Rectangle 3"/>
          <p:cNvSpPr/>
          <p:nvPr/>
        </p:nvSpPr>
        <p:spPr>
          <a:xfrm>
            <a:off x="6847845" y="6375161"/>
            <a:ext cx="5344155" cy="369332"/>
          </a:xfrm>
          <a:prstGeom prst="rect">
            <a:avLst/>
          </a:prstGeom>
        </p:spPr>
        <p:txBody>
          <a:bodyPr wrap="none">
            <a:spAutoFit/>
          </a:bodyPr>
          <a:lstStyle/>
          <a:p>
            <a:r>
              <a:rPr lang="en-US" dirty="0"/>
              <a:t>Mark </a:t>
            </a:r>
            <a:r>
              <a:rPr lang="en-US" dirty="0" smtClean="0"/>
              <a:t>Weiser, </a:t>
            </a:r>
            <a:r>
              <a:rPr lang="en-US" b="1" dirty="0"/>
              <a:t>The Computer for the 21st </a:t>
            </a:r>
            <a:r>
              <a:rPr lang="en-US" b="1" dirty="0" smtClean="0"/>
              <a:t>Century</a:t>
            </a:r>
            <a:endParaRPr lang="en-US" b="1" dirty="0"/>
          </a:p>
        </p:txBody>
      </p:sp>
    </p:spTree>
    <p:extLst>
      <p:ext uri="{BB962C8B-B14F-4D97-AF65-F5344CB8AC3E}">
        <p14:creationId xmlns:p14="http://schemas.microsoft.com/office/powerpoint/2010/main" val="2367255224"/>
      </p:ext>
    </p:extLst>
  </p:cSld>
  <p:clrMapOvr>
    <a:masterClrMapping/>
  </p:clrMapOvr>
  <p:transition spd="slow">
    <p:push/>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Questions / Thank you!</a:t>
            </a:r>
            <a:endParaRPr lang="en-US" dirty="0"/>
          </a:p>
        </p:txBody>
      </p:sp>
    </p:spTree>
    <p:extLst>
      <p:ext uri="{BB962C8B-B14F-4D97-AF65-F5344CB8AC3E}">
        <p14:creationId xmlns:p14="http://schemas.microsoft.com/office/powerpoint/2010/main" val="1581471205"/>
      </p:ext>
    </p:extLst>
  </p:cSld>
  <p:clrMapOvr>
    <a:masterClrMapping/>
  </p:clrMapOvr>
  <p:transition spd="slow">
    <p:push/>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hahastop.com/pictures/Pain_In_The_But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2998" y="2763"/>
            <a:ext cx="9332622" cy="68552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7823601"/>
      </p:ext>
    </p:extLst>
  </p:cSld>
  <p:clrMapOvr>
    <a:masterClrMapping/>
  </p:clrMapOvr>
  <p:transition spd="slow">
    <p:push/>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4447642" y="2403908"/>
            <a:ext cx="5815584" cy="1381307"/>
          </a:xfrm>
        </p:spPr>
        <p:txBody>
          <a:bodyPr/>
          <a:lstStyle/>
          <a:p>
            <a:pPr marL="0" indent="0">
              <a:buNone/>
            </a:pPr>
            <a:r>
              <a:rPr lang="en-US" dirty="0"/>
              <a:t>Jason Young</a:t>
            </a:r>
          </a:p>
          <a:p>
            <a:pPr marL="0" indent="0">
              <a:buNone/>
            </a:pPr>
            <a:r>
              <a:rPr lang="en-US" dirty="0"/>
              <a:t>Senior Program Manager</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4904" y="1885492"/>
            <a:ext cx="2412543" cy="2418141"/>
          </a:xfrm>
          <a:prstGeom prst="rect">
            <a:avLst/>
          </a:prstGeom>
        </p:spPr>
      </p:pic>
    </p:spTree>
    <p:extLst>
      <p:ext uri="{BB962C8B-B14F-4D97-AF65-F5344CB8AC3E}">
        <p14:creationId xmlns:p14="http://schemas.microsoft.com/office/powerpoint/2010/main" val="1132621269"/>
      </p:ext>
    </p:extLst>
  </p:cSld>
  <p:clrMapOvr>
    <a:masterClrMapping/>
  </p:clrMapOvr>
  <p:transition spd="slow">
    <p:push/>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48850" y="788742"/>
            <a:ext cx="4161905" cy="819048"/>
          </a:xfrm>
          <a:prstGeom prst="rect">
            <a:avLst/>
          </a:prstGeom>
        </p:spPr>
      </p:pic>
      <p:pic>
        <p:nvPicPr>
          <p:cNvPr id="5" name="Picture 4"/>
          <p:cNvPicPr>
            <a:picLocks noChangeAspect="1"/>
          </p:cNvPicPr>
          <p:nvPr/>
        </p:nvPicPr>
        <p:blipFill>
          <a:blip r:embed="rId4"/>
          <a:stretch>
            <a:fillRect/>
          </a:stretch>
        </p:blipFill>
        <p:spPr>
          <a:xfrm>
            <a:off x="3722424" y="5153596"/>
            <a:ext cx="7219048" cy="1028571"/>
          </a:xfrm>
          <a:prstGeom prst="rect">
            <a:avLst/>
          </a:prstGeom>
        </p:spPr>
      </p:pic>
      <p:pic>
        <p:nvPicPr>
          <p:cNvPr id="6" name="Picture 5"/>
          <p:cNvPicPr>
            <a:picLocks noChangeAspect="1"/>
          </p:cNvPicPr>
          <p:nvPr/>
        </p:nvPicPr>
        <p:blipFill>
          <a:blip r:embed="rId5"/>
          <a:stretch>
            <a:fillRect/>
          </a:stretch>
        </p:blipFill>
        <p:spPr>
          <a:xfrm>
            <a:off x="259401" y="2023425"/>
            <a:ext cx="6591670" cy="2714535"/>
          </a:xfrm>
          <a:prstGeom prst="rect">
            <a:avLst/>
          </a:prstGeom>
        </p:spPr>
      </p:pic>
      <p:pic>
        <p:nvPicPr>
          <p:cNvPr id="7" name="Picture 6"/>
          <p:cNvPicPr>
            <a:picLocks noChangeAspect="1"/>
          </p:cNvPicPr>
          <p:nvPr/>
        </p:nvPicPr>
        <p:blipFill>
          <a:blip r:embed="rId6"/>
          <a:stretch>
            <a:fillRect/>
          </a:stretch>
        </p:blipFill>
        <p:spPr>
          <a:xfrm>
            <a:off x="6851071" y="272066"/>
            <a:ext cx="5086218" cy="2313632"/>
          </a:xfrm>
          <a:prstGeom prst="rect">
            <a:avLst/>
          </a:prstGeom>
        </p:spPr>
      </p:pic>
      <p:pic>
        <p:nvPicPr>
          <p:cNvPr id="10"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57447" y="2371444"/>
            <a:ext cx="2438400" cy="2438400"/>
          </a:xfrm>
          <a:prstGeom prst="rect">
            <a:avLst/>
          </a:prstGeom>
        </p:spPr>
      </p:pic>
      <p:pic>
        <p:nvPicPr>
          <p:cNvPr id="3074" name="Picture 2" descr="Open Interconnect Consortium"/>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5265376"/>
            <a:ext cx="4366260" cy="1546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8556244"/>
      </p:ext>
    </p:extLst>
  </p:cSld>
  <p:clrMapOvr>
    <a:masterClrMapping/>
  </p:clrMapOvr>
  <p:transition spd="slow">
    <p:push/>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2" y="2408257"/>
            <a:ext cx="11653523" cy="2041488"/>
          </a:xfrm>
        </p:spPr>
        <p:txBody>
          <a:bodyPr anchor="ctr"/>
          <a:lstStyle/>
          <a:p>
            <a:pPr marL="0" indent="0" algn="ctr">
              <a:buNone/>
            </a:pPr>
            <a:r>
              <a:rPr lang="en-US" dirty="0" smtClean="0"/>
              <a:t>IoT is just a…</a:t>
            </a:r>
          </a:p>
          <a:p>
            <a:pPr marL="0" indent="0" algn="ctr">
              <a:buNone/>
            </a:pPr>
            <a:r>
              <a:rPr lang="en-US" dirty="0" smtClean="0"/>
              <a:t>Buzzword…</a:t>
            </a:r>
          </a:p>
          <a:p>
            <a:pPr marL="0" indent="0" algn="ctr">
              <a:buNone/>
            </a:pPr>
            <a:r>
              <a:rPr lang="en-US" dirty="0" smtClean="0"/>
              <a:t>A Fad…</a:t>
            </a:r>
            <a:endParaRPr lang="en-US" dirty="0"/>
          </a:p>
        </p:txBody>
      </p:sp>
    </p:spTree>
    <p:extLst>
      <p:ext uri="{BB962C8B-B14F-4D97-AF65-F5344CB8AC3E}">
        <p14:creationId xmlns:p14="http://schemas.microsoft.com/office/powerpoint/2010/main" val="4040872045"/>
      </p:ext>
    </p:extLst>
  </p:cSld>
  <p:clrMapOvr>
    <a:masterClrMapping/>
  </p:clrMapOvr>
  <p:transition spd="slow">
    <p:push/>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PE Partner Team Internal">
  <a:themeElements>
    <a:clrScheme name="DPE Colors">
      <a:dk1>
        <a:srgbClr val="505050"/>
      </a:dk1>
      <a:lt1>
        <a:srgbClr val="FFFFFF"/>
      </a:lt1>
      <a:dk2>
        <a:srgbClr val="00188F"/>
      </a:dk2>
      <a:lt2>
        <a:srgbClr val="D2D2D2"/>
      </a:lt2>
      <a:accent1>
        <a:srgbClr val="00188F"/>
      </a:accent1>
      <a:accent2>
        <a:srgbClr val="009E49"/>
      </a:accent2>
      <a:accent3>
        <a:srgbClr val="00BCF2"/>
      </a:accent3>
      <a:accent4>
        <a:srgbClr val="7FBA00"/>
      </a:accent4>
      <a:accent5>
        <a:srgbClr val="002050"/>
      </a:accent5>
      <a:accent6>
        <a:srgbClr val="007233"/>
      </a:accent6>
      <a:hlink>
        <a:srgbClr val="DC3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PE Partner Team Internal" id="{2334EA72-5604-4E96-AB01-82CCB875D8BD}" vid="{A8439E38-72CB-41FB-BDB8-CDB1EF8A4517}"/>
    </a:ext>
  </a:extLst>
</a:theme>
</file>

<file path=ppt/theme/theme2.xml><?xml version="1.0" encoding="utf-8"?>
<a:theme xmlns:a="http://schemas.openxmlformats.org/drawingml/2006/main" name="1_MSVID Microsoft Brand template_16-9_White_Purple accent">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4.xml><?xml version="1.0" encoding="utf-8"?>
<a:theme xmlns:a="http://schemas.openxmlformats.org/drawingml/2006/main" name="1_DPE Partner Team Internal">
  <a:themeElements>
    <a:clrScheme name="DPE Colors">
      <a:dk1>
        <a:srgbClr val="505050"/>
      </a:dk1>
      <a:lt1>
        <a:srgbClr val="FFFFFF"/>
      </a:lt1>
      <a:dk2>
        <a:srgbClr val="00188F"/>
      </a:dk2>
      <a:lt2>
        <a:srgbClr val="D2D2D2"/>
      </a:lt2>
      <a:accent1>
        <a:srgbClr val="00188F"/>
      </a:accent1>
      <a:accent2>
        <a:srgbClr val="009E49"/>
      </a:accent2>
      <a:accent3>
        <a:srgbClr val="00BCF2"/>
      </a:accent3>
      <a:accent4>
        <a:srgbClr val="7FBA00"/>
      </a:accent4>
      <a:accent5>
        <a:srgbClr val="002050"/>
      </a:accent5>
      <a:accent6>
        <a:srgbClr val="007233"/>
      </a:accent6>
      <a:hlink>
        <a:srgbClr val="DC3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PE Partner Team Internal" id="{2334EA72-5604-4E96-AB01-82CCB875D8BD}" vid="{A8439E38-72CB-41FB-BDB8-CDB1EF8A4517}"/>
    </a:ext>
  </a:extLst>
</a:theme>
</file>

<file path=ppt/theme/theme5.xml><?xml version="1.0" encoding="utf-8"?>
<a:theme xmlns:a="http://schemas.openxmlformats.org/drawingml/2006/main" name="2_DPE Partner Team Internal">
  <a:themeElements>
    <a:clrScheme name="DPE Colors">
      <a:dk1>
        <a:srgbClr val="505050"/>
      </a:dk1>
      <a:lt1>
        <a:srgbClr val="FFFFFF"/>
      </a:lt1>
      <a:dk2>
        <a:srgbClr val="00188F"/>
      </a:dk2>
      <a:lt2>
        <a:srgbClr val="D2D2D2"/>
      </a:lt2>
      <a:accent1>
        <a:srgbClr val="00188F"/>
      </a:accent1>
      <a:accent2>
        <a:srgbClr val="009E49"/>
      </a:accent2>
      <a:accent3>
        <a:srgbClr val="00BCF2"/>
      </a:accent3>
      <a:accent4>
        <a:srgbClr val="7FBA00"/>
      </a:accent4>
      <a:accent5>
        <a:srgbClr val="002050"/>
      </a:accent5>
      <a:accent6>
        <a:srgbClr val="007233"/>
      </a:accent6>
      <a:hlink>
        <a:srgbClr val="DC3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PE Partner Team Internal" id="{2334EA72-5604-4E96-AB01-82CCB875D8BD}" vid="{A8439E38-72CB-41FB-BDB8-CDB1EF8A4517}"/>
    </a:ext>
  </a:extLst>
</a:theme>
</file>

<file path=ppt/theme/theme6.xml><?xml version="1.0" encoding="utf-8"?>
<a:theme xmlns:a="http://schemas.openxmlformats.org/drawingml/2006/main" name="3_DPE Partner Team Internal">
  <a:themeElements>
    <a:clrScheme name="DPE Colors">
      <a:dk1>
        <a:srgbClr val="505050"/>
      </a:dk1>
      <a:lt1>
        <a:srgbClr val="FFFFFF"/>
      </a:lt1>
      <a:dk2>
        <a:srgbClr val="00188F"/>
      </a:dk2>
      <a:lt2>
        <a:srgbClr val="D2D2D2"/>
      </a:lt2>
      <a:accent1>
        <a:srgbClr val="00188F"/>
      </a:accent1>
      <a:accent2>
        <a:srgbClr val="009E49"/>
      </a:accent2>
      <a:accent3>
        <a:srgbClr val="00BCF2"/>
      </a:accent3>
      <a:accent4>
        <a:srgbClr val="7FBA00"/>
      </a:accent4>
      <a:accent5>
        <a:srgbClr val="002050"/>
      </a:accent5>
      <a:accent6>
        <a:srgbClr val="007233"/>
      </a:accent6>
      <a:hlink>
        <a:srgbClr val="DC3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PE Partner Team Internal" id="{2334EA72-5604-4E96-AB01-82CCB875D8BD}" vid="{A8439E38-72CB-41FB-BDB8-CDB1EF8A4517}"/>
    </a:ext>
  </a:extLst>
</a:theme>
</file>

<file path=ppt/theme/theme7.xml><?xml version="1.0" encoding="utf-8"?>
<a:theme xmlns:a="http://schemas.openxmlformats.org/drawingml/2006/main" name="5-30606_TR20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EB8091BA-E5A9-40E6-8123-7943DC20CA20}" vid="{F1B13A7B-B70F-4D1A-AE6D-53912D2B6EC0}"/>
    </a:ext>
  </a:extLst>
</a:theme>
</file>

<file path=ppt/theme/theme8.xml><?xml version="1.0" encoding="utf-8"?>
<a:theme xmlns:a="http://schemas.openxmlformats.org/drawingml/2006/main" name="4_DPE Partner Team Internal">
  <a:themeElements>
    <a:clrScheme name="DPE Colors">
      <a:dk1>
        <a:srgbClr val="505050"/>
      </a:dk1>
      <a:lt1>
        <a:srgbClr val="FFFFFF"/>
      </a:lt1>
      <a:dk2>
        <a:srgbClr val="00188F"/>
      </a:dk2>
      <a:lt2>
        <a:srgbClr val="D2D2D2"/>
      </a:lt2>
      <a:accent1>
        <a:srgbClr val="00188F"/>
      </a:accent1>
      <a:accent2>
        <a:srgbClr val="009E49"/>
      </a:accent2>
      <a:accent3>
        <a:srgbClr val="00BCF2"/>
      </a:accent3>
      <a:accent4>
        <a:srgbClr val="7FBA00"/>
      </a:accent4>
      <a:accent5>
        <a:srgbClr val="002050"/>
      </a:accent5>
      <a:accent6>
        <a:srgbClr val="007233"/>
      </a:accent6>
      <a:hlink>
        <a:srgbClr val="DC3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PE Partner Team Internal" id="{2334EA72-5604-4E96-AB01-82CCB875D8BD}" vid="{A8439E38-72CB-41FB-BDB8-CDB1EF8A451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7a5163d-9979-431e-b761-2ea95fb54f47">
      <UserInfo>
        <DisplayName>Rob Rowe</DisplayName>
        <AccountId>196</AccountId>
        <AccountType/>
      </UserInfo>
      <UserInfo>
        <DisplayName>Jan-Willem Verkerk</DisplayName>
        <AccountId>185</AccountId>
        <AccountType/>
      </UserInfo>
      <UserInfo>
        <DisplayName>Sally Solaro</DisplayName>
        <AccountId>191</AccountId>
        <AccountType/>
      </UserInfo>
      <UserInfo>
        <DisplayName>Amir Pinchas</DisplayName>
        <AccountId>184</AccountId>
        <AccountType/>
      </UserInfo>
      <UserInfo>
        <DisplayName>Anko Duizer</DisplayName>
        <AccountId>632</AccountId>
        <AccountType/>
      </UserInfo>
      <UserInfo>
        <DisplayName>Sean Alexander</DisplayName>
        <AccountId>28</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765683724EA6243A1DE28B9697BDA54" ma:contentTypeVersion="1" ma:contentTypeDescription="Create a new document." ma:contentTypeScope="" ma:versionID="9bde5fd8fe7f7ad37ef5bddde096bf2e">
  <xsd:schema xmlns:xsd="http://www.w3.org/2001/XMLSchema" xmlns:xs="http://www.w3.org/2001/XMLSchema" xmlns:p="http://schemas.microsoft.com/office/2006/metadata/properties" xmlns:ns3="f7a5163d-9979-431e-b761-2ea95fb54f47" targetNamespace="http://schemas.microsoft.com/office/2006/metadata/properties" ma:root="true" ma:fieldsID="868a926f396efbd1f12fe7b7f5b5f14a" ns3:_="">
    <xsd:import namespace="f7a5163d-9979-431e-b761-2ea95fb54f47"/>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a5163d-9979-431e-b761-2ea95fb54f4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BAB3DA4-88CF-4F6C-B37B-6E496F179060}">
  <ds:schemaRefs>
    <ds:schemaRef ds:uri="http://schemas.microsoft.com/sharepoint/v3/contenttype/forms"/>
  </ds:schemaRefs>
</ds:datastoreItem>
</file>

<file path=customXml/itemProps2.xml><?xml version="1.0" encoding="utf-8"?>
<ds:datastoreItem xmlns:ds="http://schemas.openxmlformats.org/officeDocument/2006/customXml" ds:itemID="{907A77DD-E2E9-4F75-94E5-24EE0BA73397}">
  <ds:schemaRefs>
    <ds:schemaRef ds:uri="http://schemas.microsoft.com/office/2006/metadata/properties"/>
    <ds:schemaRef ds:uri="http://www.w3.org/2000/xmlns/"/>
    <ds:schemaRef ds:uri="f7a5163d-9979-431e-b761-2ea95fb54f47"/>
    <ds:schemaRef ds:uri="http://schemas.microsoft.com/office/infopath/2007/PartnerControls"/>
  </ds:schemaRefs>
</ds:datastoreItem>
</file>

<file path=customXml/itemProps3.xml><?xml version="1.0" encoding="utf-8"?>
<ds:datastoreItem xmlns:ds="http://schemas.openxmlformats.org/officeDocument/2006/customXml" ds:itemID="{7B9F080F-B5F3-498F-93D0-8DC85ACE3CBE}">
  <ds:schemaRefs>
    <ds:schemaRef ds:uri="http://schemas.microsoft.com/office/2006/metadata/contentType"/>
    <ds:schemaRef ds:uri="http://schemas.microsoft.com/office/2006/metadata/properties/metaAttributes"/>
    <ds:schemaRef ds:uri="http://www.w3.org/2000/xmlns/"/>
    <ds:schemaRef ds:uri="http://www.w3.org/2001/XMLSchema"/>
    <ds:schemaRef ds:uri="f7a5163d-9979-431e-b761-2ea95fb54f47"/>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885</TotalTime>
  <Words>1992</Words>
  <Application>Microsoft Office PowerPoint</Application>
  <PresentationFormat>Widescreen</PresentationFormat>
  <Paragraphs>306</Paragraphs>
  <Slides>54</Slides>
  <Notes>40</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54</vt:i4>
      </vt:variant>
    </vt:vector>
  </HeadingPairs>
  <TitlesOfParts>
    <vt:vector size="75" baseType="lpstr">
      <vt:lpstr>Arial</vt:lpstr>
      <vt:lpstr>Arial</vt:lpstr>
      <vt:lpstr>Calibri</vt:lpstr>
      <vt:lpstr>Consolas</vt:lpstr>
      <vt:lpstr>Georgia</vt:lpstr>
      <vt:lpstr>Segoe Light</vt:lpstr>
      <vt:lpstr>Segoe Semibold</vt:lpstr>
      <vt:lpstr>Segoe UI</vt:lpstr>
      <vt:lpstr>Segoe UI Light</vt:lpstr>
      <vt:lpstr>Segoe UI Semibold</vt:lpstr>
      <vt:lpstr>Times New Roman</vt:lpstr>
      <vt:lpstr>Wingdings</vt:lpstr>
      <vt:lpstr>DPE Partner Team Internal</vt:lpstr>
      <vt:lpstr>1_MSVID Microsoft Brand template_16-9_White_Purple accent</vt:lpstr>
      <vt:lpstr>1_3-30070_Windows_Server_Management_Marketing_Template_16x9</vt:lpstr>
      <vt:lpstr>1_DPE Partner Team Internal</vt:lpstr>
      <vt:lpstr>2_DPE Partner Team Internal</vt:lpstr>
      <vt:lpstr>3_DPE Partner Team Internal</vt:lpstr>
      <vt:lpstr>5-30606_TR20_BO_CT_Template</vt:lpstr>
      <vt:lpstr>4_DPE Partner Team Internal</vt:lpstr>
      <vt:lpstr>think-cell Slide</vt:lpstr>
      <vt:lpstr>IoT - It's Not Just a Buzzwor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the Internet of Things?</vt:lpstr>
      <vt:lpstr>Microsoft Azure IoT services</vt:lpstr>
      <vt:lpstr>Azure IoT Sui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vent Hubs</vt:lpstr>
      <vt:lpstr>Event Hubs 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orage</vt:lpstr>
      <vt:lpstr>PowerPoint Presentation</vt:lpstr>
      <vt:lpstr>PowerPoint Presentation</vt:lpstr>
      <vt:lpstr> Stream Analytics</vt:lpstr>
      <vt:lpstr>Machine Learning </vt:lpstr>
      <vt:lpstr>PowerBI </vt:lpstr>
      <vt:lpstr>PowerPoint Presentation</vt:lpstr>
      <vt:lpstr>Azure IoT services Reference Architecture</vt:lpstr>
      <vt:lpstr>The Internet of Things – Manufacturing</vt:lpstr>
      <vt:lpstr>Projects</vt:lpstr>
      <vt:lpstr>PowerPoint Presentation</vt:lpstr>
      <vt:lpstr>PowerPoint Presentation</vt:lpstr>
      <vt:lpstr>Manufacturing</vt:lpstr>
      <vt:lpstr>PowerPoint Presentation</vt:lpstr>
      <vt:lpstr>PowerPoint Presentation</vt:lpstr>
      <vt:lpstr>Call to Action</vt:lpstr>
      <vt:lpstr>PowerPoint Presentation</vt:lpstr>
      <vt:lpstr>Questions / 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aham Elliott</dc:creator>
  <cp:lastModifiedBy>Jason Young</cp:lastModifiedBy>
  <cp:revision>424</cp:revision>
  <dcterms:created xsi:type="dcterms:W3CDTF">2014-07-31T01:42:27Z</dcterms:created>
  <dcterms:modified xsi:type="dcterms:W3CDTF">2015-03-28T00:3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65683724EA6243A1DE28B9697BDA54</vt:lpwstr>
  </property>
  <property fmtid="{D5CDD505-2E9C-101B-9397-08002B2CF9AE}" pid="3" name="TaxKeyword">
    <vt:lpwstr/>
  </property>
  <property fmtid="{D5CDD505-2E9C-101B-9397-08002B2CF9AE}" pid="4" name="DocVizMetadataToken">
    <vt:lpwstr>300x168x1</vt:lpwstr>
  </property>
  <property fmtid="{D5CDD505-2E9C-101B-9397-08002B2CF9AE}" pid="5" name="IsMyDocuments">
    <vt:bool>true</vt:bool>
  </property>
</Properties>
</file>